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34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slideLayouts/slideLayout14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Default Extension="gif" ContentType="image/gif"/>
  <Override PartName="/ppt/tags/tag4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93" r:id="rId2"/>
    <p:sldMasterId id="2147483946" r:id="rId3"/>
  </p:sldMasterIdLst>
  <p:notesMasterIdLst>
    <p:notesMasterId r:id="rId32"/>
  </p:notesMasterIdLst>
  <p:handoutMasterIdLst>
    <p:handoutMasterId r:id="rId33"/>
  </p:handoutMasterIdLst>
  <p:sldIdLst>
    <p:sldId id="407" r:id="rId4"/>
    <p:sldId id="460" r:id="rId5"/>
    <p:sldId id="461" r:id="rId6"/>
    <p:sldId id="462" r:id="rId7"/>
    <p:sldId id="479" r:id="rId8"/>
    <p:sldId id="469" r:id="rId9"/>
    <p:sldId id="463" r:id="rId10"/>
    <p:sldId id="481" r:id="rId11"/>
    <p:sldId id="465" r:id="rId12"/>
    <p:sldId id="466" r:id="rId13"/>
    <p:sldId id="470" r:id="rId14"/>
    <p:sldId id="482" r:id="rId15"/>
    <p:sldId id="494" r:id="rId16"/>
    <p:sldId id="471" r:id="rId17"/>
    <p:sldId id="472" r:id="rId18"/>
    <p:sldId id="473" r:id="rId19"/>
    <p:sldId id="474" r:id="rId20"/>
    <p:sldId id="475" r:id="rId21"/>
    <p:sldId id="488" r:id="rId22"/>
    <p:sldId id="484" r:id="rId23"/>
    <p:sldId id="485" r:id="rId24"/>
    <p:sldId id="490" r:id="rId25"/>
    <p:sldId id="486" r:id="rId26"/>
    <p:sldId id="493" r:id="rId27"/>
    <p:sldId id="492" r:id="rId28"/>
    <p:sldId id="458" r:id="rId29"/>
    <p:sldId id="459" r:id="rId30"/>
    <p:sldId id="329" r:id="rId31"/>
  </p:sldIdLst>
  <p:sldSz cx="9906000" cy="6858000" type="A4"/>
  <p:notesSz cx="6797675" cy="9874250"/>
  <p:custDataLst>
    <p:tags r:id="rId34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FFFF"/>
    <a:srgbClr val="F2F2F2"/>
    <a:srgbClr val="E47E1A"/>
    <a:srgbClr val="BA0065"/>
    <a:srgbClr val="FFBC1D"/>
    <a:srgbClr val="598E20"/>
    <a:srgbClr val="D03833"/>
    <a:srgbClr val="805924"/>
    <a:srgbClr val="72633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121" autoAdjust="0"/>
    <p:restoredTop sz="81714" autoAdjust="0"/>
  </p:normalViewPr>
  <p:slideViewPr>
    <p:cSldViewPr>
      <p:cViewPr>
        <p:scale>
          <a:sx n="60" d="100"/>
          <a:sy n="60" d="100"/>
        </p:scale>
        <p:origin x="-1336" y="-204"/>
      </p:cViewPr>
      <p:guideLst>
        <p:guide orient="horz" pos="3948"/>
        <p:guide orient="horz" pos="791"/>
        <p:guide orient="horz" pos="1062"/>
        <p:guide orient="horz" pos="3620"/>
        <p:guide orient="horz" pos="2374"/>
        <p:guide pos="3120"/>
        <p:guide pos="6025"/>
        <p:guide pos="3042"/>
        <p:guide pos="3198"/>
        <p:guide pos="220"/>
        <p:guide pos="420"/>
        <p:guide pos="581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2" d="100"/>
          <a:sy n="72" d="100"/>
        </p:scale>
        <p:origin x="-3246" y="-102"/>
      </p:cViewPr>
      <p:guideLst>
        <p:guide orient="horz" pos="3110"/>
        <p:guide pos="2141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500323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5/16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7730160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8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725488" y="741363"/>
            <a:ext cx="5346700" cy="37020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3314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>
                <a:latin typeface="Calibri" charset="0"/>
              </a:rPr>
              <a:t>Traditional streaming systems have what we call a “record-at-a-time” processing model. Each node in the cluster processing a stream has a mutable state. As records arrive one at a time, the mutable state is updated, and a new generated record is pushed to downstream nodes. Now making this mutable state fault-tolerant is hard. </a:t>
            </a:r>
          </a:p>
        </p:txBody>
      </p:sp>
      <p:sp>
        <p:nvSpPr>
          <p:cNvPr id="1331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fld id="{10446AA9-EE9A-E34E-83D5-F7F7EA45EFF7}" type="slidenum">
              <a:rPr lang="en-US"/>
              <a:pPr eaLnBrk="1" hangingPunct="1"/>
              <a:t>23</a:t>
            </a:fld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5</a:t>
            </a:fld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6</a:t>
            </a:fld>
            <a:endParaRPr 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7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2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4.xml"/><Relationship Id="rId1" Type="http://schemas.openxmlformats.org/officeDocument/2006/relationships/vmlDrawing" Target="../drawings/vmlDrawing13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3.png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5.xml"/><Relationship Id="rId1" Type="http://schemas.openxmlformats.org/officeDocument/2006/relationships/vmlDrawing" Target="../drawings/vmlDrawing14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3.png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5.v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7.vml"/><Relationship Id="rId5" Type="http://schemas.openxmlformats.org/officeDocument/2006/relationships/oleObject" Target="../embeddings/oleObject17.bin"/><Relationship Id="rId4" Type="http://schemas.openxmlformats.org/officeDocument/2006/relationships/image" Target="../media/image3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8.vml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4.jpe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19.bin"/><Relationship Id="rId4" Type="http://schemas.openxmlformats.org/officeDocument/2006/relationships/image" Target="../media/image15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9.xml"/><Relationship Id="rId7" Type="http://schemas.openxmlformats.org/officeDocument/2006/relationships/oleObject" Target="../embeddings/oleObject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2" y="5388769"/>
            <a:ext cx="5895975" cy="14736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4905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4133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342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745845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57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1347982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W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463550"/>
            <a:ext cx="8997950" cy="793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21336" tIns="21336" rIns="21336" bIns="2133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>
                <a:sym typeface="Arial" charset="0"/>
              </a:rPr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74175" y="1447800"/>
            <a:ext cx="8997950" cy="4876800"/>
          </a:xfrm>
        </p:spPr>
        <p:txBody>
          <a:bodyPr/>
          <a:lstStyle>
            <a:lvl4pPr>
              <a:defRPr sz="16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8709982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1833" name="think-cell Slide" r:id="rId4" imgW="360" imgH="360" progId="">
              <p:embed/>
            </p:oleObj>
          </a:graphicData>
        </a:graphic>
      </p:graphicFrame>
      <p:sp>
        <p:nvSpPr>
          <p:cNvPr id="18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117963" y="34326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8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867725" y="3283811"/>
            <a:ext cx="519572" cy="522508"/>
          </a:xfrm>
          <a:prstGeom prst="rect">
            <a:avLst/>
          </a:prstGeom>
        </p:spPr>
      </p:pic>
      <p:grpSp>
        <p:nvGrpSpPr>
          <p:cNvPr id="75" name="Group 74"/>
          <p:cNvGrpSpPr/>
          <p:nvPr userDrawn="1"/>
        </p:nvGrpSpPr>
        <p:grpSpPr>
          <a:xfrm>
            <a:off x="5722379" y="3575705"/>
            <a:ext cx="3826121" cy="1827268"/>
            <a:chOff x="5722379" y="3575705"/>
            <a:chExt cx="3826121" cy="1827268"/>
          </a:xfrm>
        </p:grpSpPr>
        <p:grpSp>
          <p:nvGrpSpPr>
            <p:cNvPr id="77" name="Group 76"/>
            <p:cNvGrpSpPr/>
            <p:nvPr userDrawn="1"/>
          </p:nvGrpSpPr>
          <p:grpSpPr>
            <a:xfrm>
              <a:off x="5722379" y="3575705"/>
              <a:ext cx="3826121" cy="1827268"/>
              <a:chOff x="5722379" y="3575705"/>
              <a:chExt cx="3826121" cy="1827268"/>
            </a:xfrm>
          </p:grpSpPr>
          <p:grpSp>
            <p:nvGrpSpPr>
              <p:cNvPr id="187" name="Groupe 203"/>
              <p:cNvGrpSpPr/>
              <p:nvPr userDrawn="1"/>
            </p:nvGrpSpPr>
            <p:grpSpPr>
              <a:xfrm>
                <a:off x="5722379" y="3575705"/>
                <a:ext cx="3826121" cy="1827268"/>
                <a:chOff x="5421313" y="3175001"/>
                <a:chExt cx="4141788" cy="1978025"/>
              </a:xfrm>
              <a:noFill/>
            </p:grpSpPr>
            <p:sp>
              <p:nvSpPr>
                <p:cNvPr id="192" name="Freeform 6"/>
                <p:cNvSpPr>
                  <a:spLocks/>
                </p:cNvSpPr>
                <p:nvPr userDrawn="1"/>
              </p:nvSpPr>
              <p:spPr bwMode="auto">
                <a:xfrm>
                  <a:off x="6532563" y="3200401"/>
                  <a:ext cx="503238" cy="406400"/>
                </a:xfrm>
                <a:custGeom>
                  <a:avLst/>
                  <a:gdLst/>
                  <a:ahLst/>
                  <a:cxnLst>
                    <a:cxn ang="0">
                      <a:pos x="24" y="71"/>
                    </a:cxn>
                    <a:cxn ang="0">
                      <a:pos x="0" y="49"/>
                    </a:cxn>
                    <a:cxn ang="0">
                      <a:pos x="41" y="11"/>
                    </a:cxn>
                    <a:cxn ang="0">
                      <a:pos x="114" y="11"/>
                    </a:cxn>
                    <a:cxn ang="0">
                      <a:pos x="124" y="0"/>
                    </a:cxn>
                    <a:cxn ang="0">
                      <a:pos x="259" y="0"/>
                    </a:cxn>
                    <a:cxn ang="0">
                      <a:pos x="273" y="16"/>
                    </a:cxn>
                    <a:cxn ang="0">
                      <a:pos x="317" y="14"/>
                    </a:cxn>
                    <a:cxn ang="0">
                      <a:pos x="302" y="28"/>
                    </a:cxn>
                    <a:cxn ang="0">
                      <a:pos x="276" y="31"/>
                    </a:cxn>
                    <a:cxn ang="0">
                      <a:pos x="276" y="137"/>
                    </a:cxn>
                    <a:cxn ang="0">
                      <a:pos x="223" y="185"/>
                    </a:cxn>
                    <a:cxn ang="0">
                      <a:pos x="171" y="185"/>
                    </a:cxn>
                    <a:cxn ang="0">
                      <a:pos x="133" y="216"/>
                    </a:cxn>
                    <a:cxn ang="0">
                      <a:pos x="131" y="245"/>
                    </a:cxn>
                    <a:cxn ang="0">
                      <a:pos x="114" y="256"/>
                    </a:cxn>
                    <a:cxn ang="0">
                      <a:pos x="83" y="228"/>
                    </a:cxn>
                    <a:cxn ang="0">
                      <a:pos x="83" y="174"/>
                    </a:cxn>
                    <a:cxn ang="0">
                      <a:pos x="112" y="149"/>
                    </a:cxn>
                    <a:cxn ang="0">
                      <a:pos x="87" y="123"/>
                    </a:cxn>
                    <a:cxn ang="0">
                      <a:pos x="85" y="74"/>
                    </a:cxn>
                    <a:cxn ang="0">
                      <a:pos x="63" y="52"/>
                    </a:cxn>
                    <a:cxn ang="0">
                      <a:pos x="48" y="52"/>
                    </a:cxn>
                    <a:cxn ang="0">
                      <a:pos x="24" y="71"/>
                    </a:cxn>
                  </a:cxnLst>
                  <a:rect l="0" t="0" r="r" b="b"/>
                  <a:pathLst>
                    <a:path w="317" h="256">
                      <a:moveTo>
                        <a:pt x="24" y="71"/>
                      </a:moveTo>
                      <a:lnTo>
                        <a:pt x="0" y="49"/>
                      </a:lnTo>
                      <a:lnTo>
                        <a:pt x="41" y="11"/>
                      </a:lnTo>
                      <a:lnTo>
                        <a:pt x="114" y="11"/>
                      </a:lnTo>
                      <a:lnTo>
                        <a:pt x="124" y="0"/>
                      </a:lnTo>
                      <a:lnTo>
                        <a:pt x="259" y="0"/>
                      </a:lnTo>
                      <a:lnTo>
                        <a:pt x="273" y="16"/>
                      </a:lnTo>
                      <a:lnTo>
                        <a:pt x="317" y="14"/>
                      </a:lnTo>
                      <a:lnTo>
                        <a:pt x="302" y="28"/>
                      </a:lnTo>
                      <a:lnTo>
                        <a:pt x="276" y="31"/>
                      </a:lnTo>
                      <a:lnTo>
                        <a:pt x="276" y="137"/>
                      </a:lnTo>
                      <a:lnTo>
                        <a:pt x="223" y="185"/>
                      </a:lnTo>
                      <a:lnTo>
                        <a:pt x="171" y="185"/>
                      </a:lnTo>
                      <a:lnTo>
                        <a:pt x="133" y="216"/>
                      </a:lnTo>
                      <a:lnTo>
                        <a:pt x="131" y="245"/>
                      </a:lnTo>
                      <a:lnTo>
                        <a:pt x="114" y="256"/>
                      </a:lnTo>
                      <a:lnTo>
                        <a:pt x="83" y="228"/>
                      </a:lnTo>
                      <a:lnTo>
                        <a:pt x="83" y="174"/>
                      </a:lnTo>
                      <a:lnTo>
                        <a:pt x="112" y="149"/>
                      </a:lnTo>
                      <a:lnTo>
                        <a:pt x="87" y="123"/>
                      </a:lnTo>
                      <a:lnTo>
                        <a:pt x="85" y="74"/>
                      </a:lnTo>
                      <a:lnTo>
                        <a:pt x="63" y="52"/>
                      </a:lnTo>
                      <a:lnTo>
                        <a:pt x="48" y="52"/>
                      </a:lnTo>
                      <a:lnTo>
                        <a:pt x="24" y="71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7"/>
                <p:cNvSpPr>
                  <a:spLocks/>
                </p:cNvSpPr>
                <p:nvPr userDrawn="1"/>
              </p:nvSpPr>
              <p:spPr bwMode="auto">
                <a:xfrm>
                  <a:off x="6362701" y="3333751"/>
                  <a:ext cx="185738" cy="201613"/>
                </a:xfrm>
                <a:custGeom>
                  <a:avLst/>
                  <a:gdLst/>
                  <a:ahLst/>
                  <a:cxnLst>
                    <a:cxn ang="0">
                      <a:pos x="63" y="72"/>
                    </a:cxn>
                    <a:cxn ang="0">
                      <a:pos x="35" y="98"/>
                    </a:cxn>
                    <a:cxn ang="0">
                      <a:pos x="66" y="127"/>
                    </a:cxn>
                    <a:cxn ang="0">
                      <a:pos x="90" y="106"/>
                    </a:cxn>
                    <a:cxn ang="0">
                      <a:pos x="98" y="106"/>
                    </a:cxn>
                    <a:cxn ang="0">
                      <a:pos x="117" y="90"/>
                    </a:cxn>
                    <a:cxn ang="0">
                      <a:pos x="76" y="55"/>
                    </a:cxn>
                    <a:cxn ang="0">
                      <a:pos x="73" y="23"/>
                    </a:cxn>
                    <a:cxn ang="0">
                      <a:pos x="41" y="19"/>
                    </a:cxn>
                    <a:cxn ang="0">
                      <a:pos x="39" y="0"/>
                    </a:cxn>
                    <a:cxn ang="0">
                      <a:pos x="0" y="2"/>
                    </a:cxn>
                    <a:cxn ang="0">
                      <a:pos x="0" y="8"/>
                    </a:cxn>
                    <a:cxn ang="0">
                      <a:pos x="23" y="31"/>
                    </a:cxn>
                    <a:cxn ang="0">
                      <a:pos x="63" y="59"/>
                    </a:cxn>
                    <a:cxn ang="0">
                      <a:pos x="63" y="72"/>
                    </a:cxn>
                  </a:cxnLst>
                  <a:rect l="0" t="0" r="r" b="b"/>
                  <a:pathLst>
                    <a:path w="117" h="127">
                      <a:moveTo>
                        <a:pt x="63" y="72"/>
                      </a:moveTo>
                      <a:lnTo>
                        <a:pt x="35" y="98"/>
                      </a:lnTo>
                      <a:lnTo>
                        <a:pt x="66" y="127"/>
                      </a:lnTo>
                      <a:lnTo>
                        <a:pt x="90" y="106"/>
                      </a:lnTo>
                      <a:lnTo>
                        <a:pt x="98" y="106"/>
                      </a:lnTo>
                      <a:lnTo>
                        <a:pt x="117" y="90"/>
                      </a:lnTo>
                      <a:lnTo>
                        <a:pt x="76" y="55"/>
                      </a:lnTo>
                      <a:lnTo>
                        <a:pt x="73" y="23"/>
                      </a:lnTo>
                      <a:lnTo>
                        <a:pt x="41" y="19"/>
                      </a:lnTo>
                      <a:lnTo>
                        <a:pt x="39" y="0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23" y="31"/>
                      </a:lnTo>
                      <a:lnTo>
                        <a:pt x="63" y="59"/>
                      </a:lnTo>
                      <a:lnTo>
                        <a:pt x="63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8"/>
                <p:cNvSpPr>
                  <a:spLocks/>
                </p:cNvSpPr>
                <p:nvPr userDrawn="1"/>
              </p:nvSpPr>
              <p:spPr bwMode="auto">
                <a:xfrm>
                  <a:off x="6005513" y="3241676"/>
                  <a:ext cx="176213" cy="122238"/>
                </a:xfrm>
                <a:custGeom>
                  <a:avLst/>
                  <a:gdLst/>
                  <a:ahLst/>
                  <a:cxnLst>
                    <a:cxn ang="0">
                      <a:pos x="0" y="19"/>
                    </a:cxn>
                    <a:cxn ang="0">
                      <a:pos x="2" y="0"/>
                    </a:cxn>
                    <a:cxn ang="0">
                      <a:pos x="29" y="2"/>
                    </a:cxn>
                    <a:cxn ang="0">
                      <a:pos x="33" y="7"/>
                    </a:cxn>
                    <a:cxn ang="0">
                      <a:pos x="44" y="17"/>
                    </a:cxn>
                    <a:cxn ang="0">
                      <a:pos x="56" y="15"/>
                    </a:cxn>
                    <a:cxn ang="0">
                      <a:pos x="78" y="36"/>
                    </a:cxn>
                    <a:cxn ang="0">
                      <a:pos x="88" y="27"/>
                    </a:cxn>
                    <a:cxn ang="0">
                      <a:pos x="111" y="26"/>
                    </a:cxn>
                    <a:cxn ang="0">
                      <a:pos x="111" y="67"/>
                    </a:cxn>
                    <a:cxn ang="0">
                      <a:pos x="102" y="67"/>
                    </a:cxn>
                    <a:cxn ang="0">
                      <a:pos x="92" y="76"/>
                    </a:cxn>
                    <a:cxn ang="0">
                      <a:pos x="58" y="77"/>
                    </a:cxn>
                    <a:cxn ang="0">
                      <a:pos x="43" y="62"/>
                    </a:cxn>
                    <a:cxn ang="0">
                      <a:pos x="17" y="62"/>
                    </a:cxn>
                    <a:cxn ang="0">
                      <a:pos x="15" y="29"/>
                    </a:cxn>
                    <a:cxn ang="0">
                      <a:pos x="0" y="19"/>
                    </a:cxn>
                  </a:cxnLst>
                  <a:rect l="0" t="0" r="r" b="b"/>
                  <a:pathLst>
                    <a:path w="111" h="77">
                      <a:moveTo>
                        <a:pt x="0" y="19"/>
                      </a:moveTo>
                      <a:lnTo>
                        <a:pt x="2" y="0"/>
                      </a:lnTo>
                      <a:lnTo>
                        <a:pt x="29" y="2"/>
                      </a:lnTo>
                      <a:lnTo>
                        <a:pt x="33" y="7"/>
                      </a:lnTo>
                      <a:lnTo>
                        <a:pt x="44" y="17"/>
                      </a:lnTo>
                      <a:lnTo>
                        <a:pt x="56" y="15"/>
                      </a:lnTo>
                      <a:lnTo>
                        <a:pt x="78" y="36"/>
                      </a:lnTo>
                      <a:lnTo>
                        <a:pt x="88" y="27"/>
                      </a:lnTo>
                      <a:lnTo>
                        <a:pt x="111" y="26"/>
                      </a:lnTo>
                      <a:lnTo>
                        <a:pt x="111" y="67"/>
                      </a:lnTo>
                      <a:lnTo>
                        <a:pt x="102" y="67"/>
                      </a:lnTo>
                      <a:lnTo>
                        <a:pt x="92" y="76"/>
                      </a:lnTo>
                      <a:lnTo>
                        <a:pt x="58" y="77"/>
                      </a:lnTo>
                      <a:lnTo>
                        <a:pt x="43" y="62"/>
                      </a:lnTo>
                      <a:lnTo>
                        <a:pt x="17" y="62"/>
                      </a:lnTo>
                      <a:lnTo>
                        <a:pt x="15" y="29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9"/>
                <p:cNvSpPr>
                  <a:spLocks/>
                </p:cNvSpPr>
                <p:nvPr userDrawn="1"/>
              </p:nvSpPr>
              <p:spPr bwMode="auto">
                <a:xfrm>
                  <a:off x="5421313" y="3175001"/>
                  <a:ext cx="1276350" cy="1889125"/>
                </a:xfrm>
                <a:custGeom>
                  <a:avLst/>
                  <a:gdLst/>
                  <a:ahLst/>
                  <a:cxnLst>
                    <a:cxn ang="0">
                      <a:pos x="618" y="1172"/>
                    </a:cxn>
                    <a:cxn ang="0">
                      <a:pos x="618" y="1132"/>
                    </a:cxn>
                    <a:cxn ang="0">
                      <a:pos x="596" y="1057"/>
                    </a:cxn>
                    <a:cxn ang="0">
                      <a:pos x="628" y="1002"/>
                    </a:cxn>
                    <a:cxn ang="0">
                      <a:pos x="728" y="918"/>
                    </a:cxn>
                    <a:cxn ang="0">
                      <a:pos x="783" y="840"/>
                    </a:cxn>
                    <a:cxn ang="0">
                      <a:pos x="738" y="789"/>
                    </a:cxn>
                    <a:cxn ang="0">
                      <a:pos x="637" y="728"/>
                    </a:cxn>
                    <a:cxn ang="0">
                      <a:pos x="581" y="687"/>
                    </a:cxn>
                    <a:cxn ang="0">
                      <a:pos x="509" y="661"/>
                    </a:cxn>
                    <a:cxn ang="0">
                      <a:pos x="454" y="683"/>
                    </a:cxn>
                    <a:cxn ang="0">
                      <a:pos x="407" y="677"/>
                    </a:cxn>
                    <a:cxn ang="0">
                      <a:pos x="385" y="623"/>
                    </a:cxn>
                    <a:cxn ang="0">
                      <a:pos x="381" y="587"/>
                    </a:cxn>
                    <a:cxn ang="0">
                      <a:pos x="295" y="587"/>
                    </a:cxn>
                    <a:cxn ang="0">
                      <a:pos x="329" y="517"/>
                    </a:cxn>
                    <a:cxn ang="0">
                      <a:pos x="465" y="553"/>
                    </a:cxn>
                    <a:cxn ang="0">
                      <a:pos x="554" y="407"/>
                    </a:cxn>
                    <a:cxn ang="0">
                      <a:pos x="637" y="389"/>
                    </a:cxn>
                    <a:cxn ang="0">
                      <a:pos x="591" y="366"/>
                    </a:cxn>
                    <a:cxn ang="0">
                      <a:pos x="698" y="343"/>
                    </a:cxn>
                    <a:cxn ang="0">
                      <a:pos x="677" y="259"/>
                    </a:cxn>
                    <a:cxn ang="0">
                      <a:pos x="565" y="258"/>
                    </a:cxn>
                    <a:cxn ang="0">
                      <a:pos x="491" y="276"/>
                    </a:cxn>
                    <a:cxn ang="0">
                      <a:pos x="491" y="203"/>
                    </a:cxn>
                    <a:cxn ang="0">
                      <a:pos x="585" y="162"/>
                    </a:cxn>
                    <a:cxn ang="0">
                      <a:pos x="544" y="110"/>
                    </a:cxn>
                    <a:cxn ang="0">
                      <a:pos x="511" y="159"/>
                    </a:cxn>
                    <a:cxn ang="0">
                      <a:pos x="334" y="65"/>
                    </a:cxn>
                    <a:cxn ang="0">
                      <a:pos x="184" y="16"/>
                    </a:cxn>
                    <a:cxn ang="0">
                      <a:pos x="136" y="0"/>
                    </a:cxn>
                    <a:cxn ang="0">
                      <a:pos x="63" y="51"/>
                    </a:cxn>
                    <a:cxn ang="0">
                      <a:pos x="27" y="159"/>
                    </a:cxn>
                    <a:cxn ang="0">
                      <a:pos x="53" y="153"/>
                    </a:cxn>
                    <a:cxn ang="0">
                      <a:pos x="170" y="170"/>
                    </a:cxn>
                    <a:cxn ang="0">
                      <a:pos x="192" y="339"/>
                    </a:cxn>
                    <a:cxn ang="0">
                      <a:pos x="176" y="454"/>
                    </a:cxn>
                    <a:cxn ang="0">
                      <a:pos x="199" y="493"/>
                    </a:cxn>
                    <a:cxn ang="0">
                      <a:pos x="270" y="608"/>
                    </a:cxn>
                    <a:cxn ang="0">
                      <a:pos x="327" y="634"/>
                    </a:cxn>
                    <a:cxn ang="0">
                      <a:pos x="385" y="677"/>
                    </a:cxn>
                    <a:cxn ang="0">
                      <a:pos x="465" y="738"/>
                    </a:cxn>
                    <a:cxn ang="0">
                      <a:pos x="468" y="806"/>
                    </a:cxn>
                    <a:cxn ang="0">
                      <a:pos x="503" y="873"/>
                    </a:cxn>
                    <a:cxn ang="0">
                      <a:pos x="550" y="943"/>
                    </a:cxn>
                    <a:cxn ang="0">
                      <a:pos x="620" y="1190"/>
                    </a:cxn>
                  </a:cxnLst>
                  <a:rect l="0" t="0" r="r" b="b"/>
                  <a:pathLst>
                    <a:path w="804" h="1190">
                      <a:moveTo>
                        <a:pt x="620" y="1190"/>
                      </a:moveTo>
                      <a:lnTo>
                        <a:pt x="634" y="1190"/>
                      </a:lnTo>
                      <a:lnTo>
                        <a:pt x="618" y="1172"/>
                      </a:lnTo>
                      <a:lnTo>
                        <a:pt x="596" y="1162"/>
                      </a:lnTo>
                      <a:lnTo>
                        <a:pt x="599" y="1147"/>
                      </a:lnTo>
                      <a:lnTo>
                        <a:pt x="618" y="1132"/>
                      </a:lnTo>
                      <a:lnTo>
                        <a:pt x="622" y="1120"/>
                      </a:lnTo>
                      <a:lnTo>
                        <a:pt x="596" y="1109"/>
                      </a:lnTo>
                      <a:lnTo>
                        <a:pt x="596" y="1057"/>
                      </a:lnTo>
                      <a:lnTo>
                        <a:pt x="632" y="1023"/>
                      </a:lnTo>
                      <a:lnTo>
                        <a:pt x="644" y="1021"/>
                      </a:lnTo>
                      <a:lnTo>
                        <a:pt x="628" y="1002"/>
                      </a:lnTo>
                      <a:lnTo>
                        <a:pt x="669" y="998"/>
                      </a:lnTo>
                      <a:lnTo>
                        <a:pt x="728" y="953"/>
                      </a:lnTo>
                      <a:lnTo>
                        <a:pt x="728" y="918"/>
                      </a:lnTo>
                      <a:lnTo>
                        <a:pt x="765" y="917"/>
                      </a:lnTo>
                      <a:lnTo>
                        <a:pt x="763" y="849"/>
                      </a:lnTo>
                      <a:lnTo>
                        <a:pt x="783" y="840"/>
                      </a:lnTo>
                      <a:lnTo>
                        <a:pt x="804" y="818"/>
                      </a:lnTo>
                      <a:lnTo>
                        <a:pt x="804" y="792"/>
                      </a:lnTo>
                      <a:lnTo>
                        <a:pt x="738" y="789"/>
                      </a:lnTo>
                      <a:lnTo>
                        <a:pt x="685" y="739"/>
                      </a:lnTo>
                      <a:lnTo>
                        <a:pt x="657" y="728"/>
                      </a:lnTo>
                      <a:lnTo>
                        <a:pt x="637" y="728"/>
                      </a:lnTo>
                      <a:lnTo>
                        <a:pt x="608" y="702"/>
                      </a:lnTo>
                      <a:lnTo>
                        <a:pt x="599" y="703"/>
                      </a:lnTo>
                      <a:lnTo>
                        <a:pt x="581" y="687"/>
                      </a:lnTo>
                      <a:lnTo>
                        <a:pt x="538" y="685"/>
                      </a:lnTo>
                      <a:lnTo>
                        <a:pt x="538" y="664"/>
                      </a:lnTo>
                      <a:lnTo>
                        <a:pt x="509" y="661"/>
                      </a:lnTo>
                      <a:lnTo>
                        <a:pt x="491" y="669"/>
                      </a:lnTo>
                      <a:lnTo>
                        <a:pt x="479" y="685"/>
                      </a:lnTo>
                      <a:lnTo>
                        <a:pt x="454" y="683"/>
                      </a:lnTo>
                      <a:lnTo>
                        <a:pt x="426" y="683"/>
                      </a:lnTo>
                      <a:lnTo>
                        <a:pt x="417" y="687"/>
                      </a:lnTo>
                      <a:lnTo>
                        <a:pt x="407" y="677"/>
                      </a:lnTo>
                      <a:lnTo>
                        <a:pt x="405" y="635"/>
                      </a:lnTo>
                      <a:lnTo>
                        <a:pt x="387" y="634"/>
                      </a:lnTo>
                      <a:lnTo>
                        <a:pt x="385" y="623"/>
                      </a:lnTo>
                      <a:lnTo>
                        <a:pt x="407" y="606"/>
                      </a:lnTo>
                      <a:lnTo>
                        <a:pt x="407" y="589"/>
                      </a:lnTo>
                      <a:lnTo>
                        <a:pt x="381" y="587"/>
                      </a:lnTo>
                      <a:lnTo>
                        <a:pt x="358" y="606"/>
                      </a:lnTo>
                      <a:lnTo>
                        <a:pt x="319" y="606"/>
                      </a:lnTo>
                      <a:lnTo>
                        <a:pt x="295" y="587"/>
                      </a:lnTo>
                      <a:lnTo>
                        <a:pt x="293" y="544"/>
                      </a:lnTo>
                      <a:lnTo>
                        <a:pt x="327" y="544"/>
                      </a:lnTo>
                      <a:lnTo>
                        <a:pt x="329" y="517"/>
                      </a:lnTo>
                      <a:lnTo>
                        <a:pt x="448" y="515"/>
                      </a:lnTo>
                      <a:lnTo>
                        <a:pt x="452" y="554"/>
                      </a:lnTo>
                      <a:lnTo>
                        <a:pt x="465" y="553"/>
                      </a:lnTo>
                      <a:lnTo>
                        <a:pt x="465" y="497"/>
                      </a:lnTo>
                      <a:lnTo>
                        <a:pt x="552" y="425"/>
                      </a:lnTo>
                      <a:lnTo>
                        <a:pt x="554" y="407"/>
                      </a:lnTo>
                      <a:lnTo>
                        <a:pt x="608" y="405"/>
                      </a:lnTo>
                      <a:lnTo>
                        <a:pt x="613" y="413"/>
                      </a:lnTo>
                      <a:lnTo>
                        <a:pt x="637" y="389"/>
                      </a:lnTo>
                      <a:lnTo>
                        <a:pt x="636" y="374"/>
                      </a:lnTo>
                      <a:lnTo>
                        <a:pt x="591" y="376"/>
                      </a:lnTo>
                      <a:lnTo>
                        <a:pt x="591" y="366"/>
                      </a:lnTo>
                      <a:lnTo>
                        <a:pt x="613" y="353"/>
                      </a:lnTo>
                      <a:lnTo>
                        <a:pt x="625" y="341"/>
                      </a:lnTo>
                      <a:lnTo>
                        <a:pt x="698" y="343"/>
                      </a:lnTo>
                      <a:lnTo>
                        <a:pt x="698" y="321"/>
                      </a:lnTo>
                      <a:lnTo>
                        <a:pt x="679" y="304"/>
                      </a:lnTo>
                      <a:lnTo>
                        <a:pt x="677" y="259"/>
                      </a:lnTo>
                      <a:lnTo>
                        <a:pt x="622" y="259"/>
                      </a:lnTo>
                      <a:lnTo>
                        <a:pt x="591" y="233"/>
                      </a:lnTo>
                      <a:lnTo>
                        <a:pt x="565" y="258"/>
                      </a:lnTo>
                      <a:lnTo>
                        <a:pt x="562" y="290"/>
                      </a:lnTo>
                      <a:lnTo>
                        <a:pt x="509" y="292"/>
                      </a:lnTo>
                      <a:lnTo>
                        <a:pt x="491" y="276"/>
                      </a:lnTo>
                      <a:lnTo>
                        <a:pt x="462" y="278"/>
                      </a:lnTo>
                      <a:lnTo>
                        <a:pt x="460" y="233"/>
                      </a:lnTo>
                      <a:lnTo>
                        <a:pt x="491" y="203"/>
                      </a:lnTo>
                      <a:lnTo>
                        <a:pt x="532" y="201"/>
                      </a:lnTo>
                      <a:lnTo>
                        <a:pt x="544" y="196"/>
                      </a:lnTo>
                      <a:lnTo>
                        <a:pt x="585" y="162"/>
                      </a:lnTo>
                      <a:lnTo>
                        <a:pt x="585" y="141"/>
                      </a:lnTo>
                      <a:lnTo>
                        <a:pt x="546" y="139"/>
                      </a:lnTo>
                      <a:lnTo>
                        <a:pt x="544" y="110"/>
                      </a:lnTo>
                      <a:lnTo>
                        <a:pt x="523" y="110"/>
                      </a:lnTo>
                      <a:lnTo>
                        <a:pt x="526" y="149"/>
                      </a:lnTo>
                      <a:lnTo>
                        <a:pt x="511" y="159"/>
                      </a:lnTo>
                      <a:lnTo>
                        <a:pt x="426" y="162"/>
                      </a:lnTo>
                      <a:lnTo>
                        <a:pt x="334" y="83"/>
                      </a:lnTo>
                      <a:lnTo>
                        <a:pt x="334" y="65"/>
                      </a:lnTo>
                      <a:lnTo>
                        <a:pt x="272" y="61"/>
                      </a:lnTo>
                      <a:lnTo>
                        <a:pt x="250" y="75"/>
                      </a:lnTo>
                      <a:lnTo>
                        <a:pt x="184" y="16"/>
                      </a:lnTo>
                      <a:lnTo>
                        <a:pt x="172" y="15"/>
                      </a:lnTo>
                      <a:lnTo>
                        <a:pt x="158" y="0"/>
                      </a:lnTo>
                      <a:lnTo>
                        <a:pt x="136" y="0"/>
                      </a:lnTo>
                      <a:lnTo>
                        <a:pt x="117" y="15"/>
                      </a:lnTo>
                      <a:lnTo>
                        <a:pt x="63" y="16"/>
                      </a:lnTo>
                      <a:lnTo>
                        <a:pt x="63" y="51"/>
                      </a:lnTo>
                      <a:lnTo>
                        <a:pt x="8" y="98"/>
                      </a:lnTo>
                      <a:lnTo>
                        <a:pt x="8" y="141"/>
                      </a:lnTo>
                      <a:lnTo>
                        <a:pt x="27" y="159"/>
                      </a:lnTo>
                      <a:lnTo>
                        <a:pt x="0" y="186"/>
                      </a:lnTo>
                      <a:lnTo>
                        <a:pt x="8" y="191"/>
                      </a:lnTo>
                      <a:lnTo>
                        <a:pt x="53" y="153"/>
                      </a:lnTo>
                      <a:lnTo>
                        <a:pt x="127" y="151"/>
                      </a:lnTo>
                      <a:lnTo>
                        <a:pt x="131" y="170"/>
                      </a:lnTo>
                      <a:lnTo>
                        <a:pt x="170" y="170"/>
                      </a:lnTo>
                      <a:lnTo>
                        <a:pt x="170" y="232"/>
                      </a:lnTo>
                      <a:lnTo>
                        <a:pt x="194" y="253"/>
                      </a:lnTo>
                      <a:lnTo>
                        <a:pt x="192" y="339"/>
                      </a:lnTo>
                      <a:lnTo>
                        <a:pt x="158" y="368"/>
                      </a:lnTo>
                      <a:lnTo>
                        <a:pt x="162" y="439"/>
                      </a:lnTo>
                      <a:lnTo>
                        <a:pt x="176" y="454"/>
                      </a:lnTo>
                      <a:lnTo>
                        <a:pt x="176" y="517"/>
                      </a:lnTo>
                      <a:lnTo>
                        <a:pt x="197" y="534"/>
                      </a:lnTo>
                      <a:lnTo>
                        <a:pt x="199" y="493"/>
                      </a:lnTo>
                      <a:lnTo>
                        <a:pt x="223" y="512"/>
                      </a:lnTo>
                      <a:lnTo>
                        <a:pt x="225" y="563"/>
                      </a:lnTo>
                      <a:lnTo>
                        <a:pt x="270" y="608"/>
                      </a:lnTo>
                      <a:lnTo>
                        <a:pt x="278" y="606"/>
                      </a:lnTo>
                      <a:lnTo>
                        <a:pt x="303" y="631"/>
                      </a:lnTo>
                      <a:lnTo>
                        <a:pt x="327" y="634"/>
                      </a:lnTo>
                      <a:lnTo>
                        <a:pt x="337" y="640"/>
                      </a:lnTo>
                      <a:lnTo>
                        <a:pt x="383" y="645"/>
                      </a:lnTo>
                      <a:lnTo>
                        <a:pt x="385" y="677"/>
                      </a:lnTo>
                      <a:lnTo>
                        <a:pt x="407" y="691"/>
                      </a:lnTo>
                      <a:lnTo>
                        <a:pt x="463" y="697"/>
                      </a:lnTo>
                      <a:lnTo>
                        <a:pt x="465" y="738"/>
                      </a:lnTo>
                      <a:lnTo>
                        <a:pt x="450" y="746"/>
                      </a:lnTo>
                      <a:lnTo>
                        <a:pt x="424" y="769"/>
                      </a:lnTo>
                      <a:lnTo>
                        <a:pt x="468" y="806"/>
                      </a:lnTo>
                      <a:lnTo>
                        <a:pt x="482" y="808"/>
                      </a:lnTo>
                      <a:lnTo>
                        <a:pt x="479" y="855"/>
                      </a:lnTo>
                      <a:lnTo>
                        <a:pt x="503" y="873"/>
                      </a:lnTo>
                      <a:lnTo>
                        <a:pt x="524" y="890"/>
                      </a:lnTo>
                      <a:lnTo>
                        <a:pt x="526" y="922"/>
                      </a:lnTo>
                      <a:lnTo>
                        <a:pt x="550" y="943"/>
                      </a:lnTo>
                      <a:lnTo>
                        <a:pt x="552" y="1135"/>
                      </a:lnTo>
                      <a:lnTo>
                        <a:pt x="587" y="1166"/>
                      </a:lnTo>
                      <a:lnTo>
                        <a:pt x="620" y="119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10"/>
                <p:cNvSpPr>
                  <a:spLocks/>
                </p:cNvSpPr>
                <p:nvPr userDrawn="1"/>
              </p:nvSpPr>
              <p:spPr bwMode="auto">
                <a:xfrm>
                  <a:off x="7072313" y="3178176"/>
                  <a:ext cx="2179638" cy="1611313"/>
                </a:xfrm>
                <a:custGeom>
                  <a:avLst/>
                  <a:gdLst/>
                  <a:ahLst/>
                  <a:cxnLst>
                    <a:cxn ang="0">
                      <a:pos x="1125" y="471"/>
                    </a:cxn>
                    <a:cxn ang="0">
                      <a:pos x="1145" y="382"/>
                    </a:cxn>
                    <a:cxn ang="0">
                      <a:pos x="1111" y="261"/>
                    </a:cxn>
                    <a:cxn ang="0">
                      <a:pos x="1191" y="174"/>
                    </a:cxn>
                    <a:cxn ang="0">
                      <a:pos x="1237" y="107"/>
                    </a:cxn>
                    <a:cxn ang="0">
                      <a:pos x="1237" y="220"/>
                    </a:cxn>
                    <a:cxn ang="0">
                      <a:pos x="1266" y="202"/>
                    </a:cxn>
                    <a:cxn ang="0">
                      <a:pos x="1322" y="81"/>
                    </a:cxn>
                    <a:cxn ang="0">
                      <a:pos x="1291" y="47"/>
                    </a:cxn>
                    <a:cxn ang="0">
                      <a:pos x="1341" y="41"/>
                    </a:cxn>
                    <a:cxn ang="0">
                      <a:pos x="1344" y="0"/>
                    </a:cxn>
                    <a:cxn ang="0">
                      <a:pos x="1213" y="35"/>
                    </a:cxn>
                    <a:cxn ang="0">
                      <a:pos x="1109" y="14"/>
                    </a:cxn>
                    <a:cxn ang="0">
                      <a:pos x="910" y="65"/>
                    </a:cxn>
                    <a:cxn ang="0">
                      <a:pos x="864" y="49"/>
                    </a:cxn>
                    <a:cxn ang="0">
                      <a:pos x="733" y="81"/>
                    </a:cxn>
                    <a:cxn ang="0">
                      <a:pos x="749" y="41"/>
                    </a:cxn>
                    <a:cxn ang="0">
                      <a:pos x="632" y="108"/>
                    </a:cxn>
                    <a:cxn ang="0">
                      <a:pos x="566" y="172"/>
                    </a:cxn>
                    <a:cxn ang="0">
                      <a:pos x="455" y="204"/>
                    </a:cxn>
                    <a:cxn ang="0">
                      <a:pos x="375" y="252"/>
                    </a:cxn>
                    <a:cxn ang="0">
                      <a:pos x="377" y="204"/>
                    </a:cxn>
                    <a:cxn ang="0">
                      <a:pos x="230" y="227"/>
                    </a:cxn>
                    <a:cxn ang="0">
                      <a:pos x="184" y="274"/>
                    </a:cxn>
                    <a:cxn ang="0">
                      <a:pos x="234" y="336"/>
                    </a:cxn>
                    <a:cxn ang="0">
                      <a:pos x="299" y="239"/>
                    </a:cxn>
                    <a:cxn ang="0">
                      <a:pos x="258" y="346"/>
                    </a:cxn>
                    <a:cxn ang="0">
                      <a:pos x="219" y="348"/>
                    </a:cxn>
                    <a:cxn ang="0">
                      <a:pos x="119" y="404"/>
                    </a:cxn>
                    <a:cxn ang="0">
                      <a:pos x="82" y="450"/>
                    </a:cxn>
                    <a:cxn ang="0">
                      <a:pos x="138" y="489"/>
                    </a:cxn>
                    <a:cxn ang="0">
                      <a:pos x="217" y="474"/>
                    </a:cxn>
                    <a:cxn ang="0">
                      <a:pos x="261" y="491"/>
                    </a:cxn>
                    <a:cxn ang="0">
                      <a:pos x="227" y="442"/>
                    </a:cxn>
                    <a:cxn ang="0">
                      <a:pos x="346" y="458"/>
                    </a:cxn>
                    <a:cxn ang="0">
                      <a:pos x="432" y="438"/>
                    </a:cxn>
                    <a:cxn ang="0">
                      <a:pos x="356" y="481"/>
                    </a:cxn>
                    <a:cxn ang="0">
                      <a:pos x="432" y="522"/>
                    </a:cxn>
                    <a:cxn ang="0">
                      <a:pos x="299" y="534"/>
                    </a:cxn>
                    <a:cxn ang="0">
                      <a:pos x="82" y="520"/>
                    </a:cxn>
                    <a:cxn ang="0">
                      <a:pos x="21" y="597"/>
                    </a:cxn>
                    <a:cxn ang="0">
                      <a:pos x="109" y="739"/>
                    </a:cxn>
                    <a:cxn ang="0">
                      <a:pos x="217" y="756"/>
                    </a:cxn>
                    <a:cxn ang="0">
                      <a:pos x="276" y="998"/>
                    </a:cxn>
                    <a:cxn ang="0">
                      <a:pos x="379" y="974"/>
                    </a:cxn>
                    <a:cxn ang="0">
                      <a:pos x="426" y="904"/>
                    </a:cxn>
                    <a:cxn ang="0">
                      <a:pos x="446" y="828"/>
                    </a:cxn>
                    <a:cxn ang="0">
                      <a:pos x="477" y="638"/>
                    </a:cxn>
                    <a:cxn ang="0">
                      <a:pos x="423" y="563"/>
                    </a:cxn>
                    <a:cxn ang="0">
                      <a:pos x="571" y="657"/>
                    </a:cxn>
                    <a:cxn ang="0">
                      <a:pos x="563" y="587"/>
                    </a:cxn>
                    <a:cxn ang="0">
                      <a:pos x="554" y="539"/>
                    </a:cxn>
                    <a:cxn ang="0">
                      <a:pos x="722" y="652"/>
                    </a:cxn>
                    <a:cxn ang="0">
                      <a:pos x="841" y="601"/>
                    </a:cxn>
                    <a:cxn ang="0">
                      <a:pos x="941" y="703"/>
                    </a:cxn>
                    <a:cxn ang="0">
                      <a:pos x="998" y="730"/>
                    </a:cxn>
                    <a:cxn ang="0">
                      <a:pos x="995" y="695"/>
                    </a:cxn>
                    <a:cxn ang="0">
                      <a:pos x="1027" y="650"/>
                    </a:cxn>
                    <a:cxn ang="0">
                      <a:pos x="980" y="602"/>
                    </a:cxn>
                    <a:cxn ang="0">
                      <a:pos x="1099" y="495"/>
                    </a:cxn>
                    <a:cxn ang="0">
                      <a:pos x="1062" y="444"/>
                    </a:cxn>
                    <a:cxn ang="0">
                      <a:pos x="1029" y="423"/>
                    </a:cxn>
                  </a:cxnLst>
                  <a:rect l="0" t="0" r="r" b="b"/>
                  <a:pathLst>
                    <a:path w="1373" h="1015">
                      <a:moveTo>
                        <a:pt x="1066" y="397"/>
                      </a:moveTo>
                      <a:lnTo>
                        <a:pt x="1125" y="450"/>
                      </a:lnTo>
                      <a:lnTo>
                        <a:pt x="1113" y="466"/>
                      </a:lnTo>
                      <a:lnTo>
                        <a:pt x="1125" y="471"/>
                      </a:lnTo>
                      <a:lnTo>
                        <a:pt x="1147" y="450"/>
                      </a:lnTo>
                      <a:lnTo>
                        <a:pt x="1119" y="425"/>
                      </a:lnTo>
                      <a:lnTo>
                        <a:pt x="1117" y="384"/>
                      </a:lnTo>
                      <a:lnTo>
                        <a:pt x="1145" y="382"/>
                      </a:lnTo>
                      <a:lnTo>
                        <a:pt x="1147" y="348"/>
                      </a:lnTo>
                      <a:lnTo>
                        <a:pt x="1129" y="334"/>
                      </a:lnTo>
                      <a:lnTo>
                        <a:pt x="1129" y="276"/>
                      </a:lnTo>
                      <a:lnTo>
                        <a:pt x="1111" y="261"/>
                      </a:lnTo>
                      <a:lnTo>
                        <a:pt x="1111" y="201"/>
                      </a:lnTo>
                      <a:lnTo>
                        <a:pt x="1145" y="180"/>
                      </a:lnTo>
                      <a:lnTo>
                        <a:pt x="1168" y="189"/>
                      </a:lnTo>
                      <a:lnTo>
                        <a:pt x="1191" y="174"/>
                      </a:lnTo>
                      <a:lnTo>
                        <a:pt x="1189" y="151"/>
                      </a:lnTo>
                      <a:lnTo>
                        <a:pt x="1205" y="148"/>
                      </a:lnTo>
                      <a:lnTo>
                        <a:pt x="1209" y="108"/>
                      </a:lnTo>
                      <a:lnTo>
                        <a:pt x="1237" y="107"/>
                      </a:lnTo>
                      <a:lnTo>
                        <a:pt x="1237" y="168"/>
                      </a:lnTo>
                      <a:lnTo>
                        <a:pt x="1223" y="172"/>
                      </a:lnTo>
                      <a:lnTo>
                        <a:pt x="1221" y="202"/>
                      </a:lnTo>
                      <a:lnTo>
                        <a:pt x="1237" y="220"/>
                      </a:lnTo>
                      <a:lnTo>
                        <a:pt x="1250" y="220"/>
                      </a:lnTo>
                      <a:lnTo>
                        <a:pt x="1250" y="247"/>
                      </a:lnTo>
                      <a:lnTo>
                        <a:pt x="1266" y="256"/>
                      </a:lnTo>
                      <a:lnTo>
                        <a:pt x="1266" y="202"/>
                      </a:lnTo>
                      <a:lnTo>
                        <a:pt x="1250" y="190"/>
                      </a:lnTo>
                      <a:lnTo>
                        <a:pt x="1249" y="141"/>
                      </a:lnTo>
                      <a:lnTo>
                        <a:pt x="1266" y="127"/>
                      </a:lnTo>
                      <a:lnTo>
                        <a:pt x="1322" y="81"/>
                      </a:lnTo>
                      <a:lnTo>
                        <a:pt x="1295" y="78"/>
                      </a:lnTo>
                      <a:lnTo>
                        <a:pt x="1291" y="66"/>
                      </a:lnTo>
                      <a:lnTo>
                        <a:pt x="1305" y="59"/>
                      </a:lnTo>
                      <a:lnTo>
                        <a:pt x="1291" y="47"/>
                      </a:lnTo>
                      <a:lnTo>
                        <a:pt x="1295" y="39"/>
                      </a:lnTo>
                      <a:lnTo>
                        <a:pt x="1307" y="25"/>
                      </a:lnTo>
                      <a:lnTo>
                        <a:pt x="1322" y="23"/>
                      </a:lnTo>
                      <a:lnTo>
                        <a:pt x="1341" y="41"/>
                      </a:lnTo>
                      <a:lnTo>
                        <a:pt x="1352" y="34"/>
                      </a:lnTo>
                      <a:lnTo>
                        <a:pt x="1360" y="37"/>
                      </a:lnTo>
                      <a:lnTo>
                        <a:pt x="1373" y="23"/>
                      </a:lnTo>
                      <a:lnTo>
                        <a:pt x="1344" y="0"/>
                      </a:lnTo>
                      <a:lnTo>
                        <a:pt x="1215" y="0"/>
                      </a:lnTo>
                      <a:lnTo>
                        <a:pt x="1205" y="13"/>
                      </a:lnTo>
                      <a:lnTo>
                        <a:pt x="1217" y="28"/>
                      </a:lnTo>
                      <a:lnTo>
                        <a:pt x="1213" y="35"/>
                      </a:lnTo>
                      <a:lnTo>
                        <a:pt x="1147" y="37"/>
                      </a:lnTo>
                      <a:lnTo>
                        <a:pt x="1129" y="22"/>
                      </a:lnTo>
                      <a:lnTo>
                        <a:pt x="1119" y="22"/>
                      </a:lnTo>
                      <a:lnTo>
                        <a:pt x="1109" y="14"/>
                      </a:lnTo>
                      <a:lnTo>
                        <a:pt x="1096" y="30"/>
                      </a:lnTo>
                      <a:lnTo>
                        <a:pt x="995" y="32"/>
                      </a:lnTo>
                      <a:lnTo>
                        <a:pt x="956" y="67"/>
                      </a:lnTo>
                      <a:lnTo>
                        <a:pt x="910" y="65"/>
                      </a:lnTo>
                      <a:lnTo>
                        <a:pt x="908" y="44"/>
                      </a:lnTo>
                      <a:lnTo>
                        <a:pt x="882" y="42"/>
                      </a:lnTo>
                      <a:lnTo>
                        <a:pt x="874" y="51"/>
                      </a:lnTo>
                      <a:lnTo>
                        <a:pt x="864" y="49"/>
                      </a:lnTo>
                      <a:lnTo>
                        <a:pt x="862" y="55"/>
                      </a:lnTo>
                      <a:lnTo>
                        <a:pt x="818" y="55"/>
                      </a:lnTo>
                      <a:lnTo>
                        <a:pt x="765" y="104"/>
                      </a:lnTo>
                      <a:lnTo>
                        <a:pt x="733" y="81"/>
                      </a:lnTo>
                      <a:lnTo>
                        <a:pt x="751" y="66"/>
                      </a:lnTo>
                      <a:lnTo>
                        <a:pt x="759" y="66"/>
                      </a:lnTo>
                      <a:lnTo>
                        <a:pt x="784" y="41"/>
                      </a:lnTo>
                      <a:lnTo>
                        <a:pt x="749" y="41"/>
                      </a:lnTo>
                      <a:lnTo>
                        <a:pt x="729" y="30"/>
                      </a:lnTo>
                      <a:lnTo>
                        <a:pt x="665" y="86"/>
                      </a:lnTo>
                      <a:lnTo>
                        <a:pt x="655" y="83"/>
                      </a:lnTo>
                      <a:lnTo>
                        <a:pt x="632" y="108"/>
                      </a:lnTo>
                      <a:lnTo>
                        <a:pt x="630" y="143"/>
                      </a:lnTo>
                      <a:lnTo>
                        <a:pt x="569" y="145"/>
                      </a:lnTo>
                      <a:lnTo>
                        <a:pt x="554" y="160"/>
                      </a:lnTo>
                      <a:lnTo>
                        <a:pt x="566" y="172"/>
                      </a:lnTo>
                      <a:lnTo>
                        <a:pt x="563" y="178"/>
                      </a:lnTo>
                      <a:lnTo>
                        <a:pt x="528" y="180"/>
                      </a:lnTo>
                      <a:lnTo>
                        <a:pt x="501" y="199"/>
                      </a:lnTo>
                      <a:lnTo>
                        <a:pt x="455" y="204"/>
                      </a:lnTo>
                      <a:lnTo>
                        <a:pt x="452" y="227"/>
                      </a:lnTo>
                      <a:lnTo>
                        <a:pt x="421" y="227"/>
                      </a:lnTo>
                      <a:lnTo>
                        <a:pt x="389" y="254"/>
                      </a:lnTo>
                      <a:lnTo>
                        <a:pt x="375" y="252"/>
                      </a:lnTo>
                      <a:lnTo>
                        <a:pt x="348" y="229"/>
                      </a:lnTo>
                      <a:lnTo>
                        <a:pt x="372" y="225"/>
                      </a:lnTo>
                      <a:lnTo>
                        <a:pt x="385" y="215"/>
                      </a:lnTo>
                      <a:lnTo>
                        <a:pt x="377" y="204"/>
                      </a:lnTo>
                      <a:lnTo>
                        <a:pt x="342" y="208"/>
                      </a:lnTo>
                      <a:lnTo>
                        <a:pt x="326" y="190"/>
                      </a:lnTo>
                      <a:lnTo>
                        <a:pt x="270" y="190"/>
                      </a:lnTo>
                      <a:lnTo>
                        <a:pt x="230" y="227"/>
                      </a:lnTo>
                      <a:lnTo>
                        <a:pt x="229" y="230"/>
                      </a:lnTo>
                      <a:lnTo>
                        <a:pt x="203" y="252"/>
                      </a:lnTo>
                      <a:lnTo>
                        <a:pt x="203" y="272"/>
                      </a:lnTo>
                      <a:lnTo>
                        <a:pt x="184" y="274"/>
                      </a:lnTo>
                      <a:lnTo>
                        <a:pt x="179" y="313"/>
                      </a:lnTo>
                      <a:lnTo>
                        <a:pt x="207" y="317"/>
                      </a:lnTo>
                      <a:lnTo>
                        <a:pt x="217" y="319"/>
                      </a:lnTo>
                      <a:lnTo>
                        <a:pt x="234" y="336"/>
                      </a:lnTo>
                      <a:lnTo>
                        <a:pt x="250" y="323"/>
                      </a:lnTo>
                      <a:lnTo>
                        <a:pt x="248" y="271"/>
                      </a:lnTo>
                      <a:lnTo>
                        <a:pt x="291" y="239"/>
                      </a:lnTo>
                      <a:lnTo>
                        <a:pt x="299" y="239"/>
                      </a:lnTo>
                      <a:lnTo>
                        <a:pt x="317" y="251"/>
                      </a:lnTo>
                      <a:lnTo>
                        <a:pt x="293" y="272"/>
                      </a:lnTo>
                      <a:lnTo>
                        <a:pt x="293" y="346"/>
                      </a:lnTo>
                      <a:lnTo>
                        <a:pt x="258" y="346"/>
                      </a:lnTo>
                      <a:lnTo>
                        <a:pt x="237" y="370"/>
                      </a:lnTo>
                      <a:lnTo>
                        <a:pt x="226" y="370"/>
                      </a:lnTo>
                      <a:lnTo>
                        <a:pt x="223" y="348"/>
                      </a:lnTo>
                      <a:lnTo>
                        <a:pt x="219" y="348"/>
                      </a:lnTo>
                      <a:lnTo>
                        <a:pt x="216" y="371"/>
                      </a:lnTo>
                      <a:lnTo>
                        <a:pt x="186" y="372"/>
                      </a:lnTo>
                      <a:lnTo>
                        <a:pt x="152" y="401"/>
                      </a:lnTo>
                      <a:lnTo>
                        <a:pt x="119" y="404"/>
                      </a:lnTo>
                      <a:lnTo>
                        <a:pt x="135" y="417"/>
                      </a:lnTo>
                      <a:lnTo>
                        <a:pt x="128" y="430"/>
                      </a:lnTo>
                      <a:lnTo>
                        <a:pt x="133" y="448"/>
                      </a:lnTo>
                      <a:lnTo>
                        <a:pt x="82" y="450"/>
                      </a:lnTo>
                      <a:lnTo>
                        <a:pt x="77" y="483"/>
                      </a:lnTo>
                      <a:lnTo>
                        <a:pt x="92" y="493"/>
                      </a:lnTo>
                      <a:lnTo>
                        <a:pt x="107" y="495"/>
                      </a:lnTo>
                      <a:lnTo>
                        <a:pt x="138" y="489"/>
                      </a:lnTo>
                      <a:lnTo>
                        <a:pt x="137" y="474"/>
                      </a:lnTo>
                      <a:lnTo>
                        <a:pt x="164" y="452"/>
                      </a:lnTo>
                      <a:lnTo>
                        <a:pt x="201" y="452"/>
                      </a:lnTo>
                      <a:lnTo>
                        <a:pt x="217" y="474"/>
                      </a:lnTo>
                      <a:lnTo>
                        <a:pt x="237" y="474"/>
                      </a:lnTo>
                      <a:lnTo>
                        <a:pt x="250" y="488"/>
                      </a:lnTo>
                      <a:lnTo>
                        <a:pt x="246" y="501"/>
                      </a:lnTo>
                      <a:lnTo>
                        <a:pt x="261" y="491"/>
                      </a:lnTo>
                      <a:lnTo>
                        <a:pt x="259" y="480"/>
                      </a:lnTo>
                      <a:lnTo>
                        <a:pt x="269" y="481"/>
                      </a:lnTo>
                      <a:lnTo>
                        <a:pt x="239" y="454"/>
                      </a:lnTo>
                      <a:lnTo>
                        <a:pt x="227" y="442"/>
                      </a:lnTo>
                      <a:lnTo>
                        <a:pt x="230" y="430"/>
                      </a:lnTo>
                      <a:lnTo>
                        <a:pt x="240" y="430"/>
                      </a:lnTo>
                      <a:lnTo>
                        <a:pt x="309" y="486"/>
                      </a:lnTo>
                      <a:lnTo>
                        <a:pt x="346" y="458"/>
                      </a:lnTo>
                      <a:lnTo>
                        <a:pt x="344" y="444"/>
                      </a:lnTo>
                      <a:lnTo>
                        <a:pt x="382" y="411"/>
                      </a:lnTo>
                      <a:lnTo>
                        <a:pt x="387" y="437"/>
                      </a:lnTo>
                      <a:lnTo>
                        <a:pt x="432" y="438"/>
                      </a:lnTo>
                      <a:lnTo>
                        <a:pt x="453" y="457"/>
                      </a:lnTo>
                      <a:lnTo>
                        <a:pt x="453" y="466"/>
                      </a:lnTo>
                      <a:lnTo>
                        <a:pt x="372" y="469"/>
                      </a:lnTo>
                      <a:lnTo>
                        <a:pt x="356" y="481"/>
                      </a:lnTo>
                      <a:lnTo>
                        <a:pt x="370" y="498"/>
                      </a:lnTo>
                      <a:lnTo>
                        <a:pt x="421" y="497"/>
                      </a:lnTo>
                      <a:lnTo>
                        <a:pt x="442" y="517"/>
                      </a:lnTo>
                      <a:lnTo>
                        <a:pt x="432" y="522"/>
                      </a:lnTo>
                      <a:lnTo>
                        <a:pt x="411" y="546"/>
                      </a:lnTo>
                      <a:lnTo>
                        <a:pt x="346" y="544"/>
                      </a:lnTo>
                      <a:lnTo>
                        <a:pt x="338" y="534"/>
                      </a:lnTo>
                      <a:lnTo>
                        <a:pt x="299" y="534"/>
                      </a:lnTo>
                      <a:lnTo>
                        <a:pt x="293" y="544"/>
                      </a:lnTo>
                      <a:lnTo>
                        <a:pt x="240" y="546"/>
                      </a:lnTo>
                      <a:lnTo>
                        <a:pt x="211" y="519"/>
                      </a:lnTo>
                      <a:lnTo>
                        <a:pt x="82" y="520"/>
                      </a:lnTo>
                      <a:lnTo>
                        <a:pt x="55" y="544"/>
                      </a:lnTo>
                      <a:lnTo>
                        <a:pt x="55" y="585"/>
                      </a:lnTo>
                      <a:lnTo>
                        <a:pt x="27" y="604"/>
                      </a:lnTo>
                      <a:lnTo>
                        <a:pt x="21" y="597"/>
                      </a:lnTo>
                      <a:lnTo>
                        <a:pt x="7" y="619"/>
                      </a:lnTo>
                      <a:lnTo>
                        <a:pt x="0" y="673"/>
                      </a:lnTo>
                      <a:lnTo>
                        <a:pt x="82" y="737"/>
                      </a:lnTo>
                      <a:lnTo>
                        <a:pt x="109" y="739"/>
                      </a:lnTo>
                      <a:lnTo>
                        <a:pt x="131" y="726"/>
                      </a:lnTo>
                      <a:lnTo>
                        <a:pt x="207" y="726"/>
                      </a:lnTo>
                      <a:lnTo>
                        <a:pt x="219" y="732"/>
                      </a:lnTo>
                      <a:lnTo>
                        <a:pt x="217" y="756"/>
                      </a:lnTo>
                      <a:lnTo>
                        <a:pt x="244" y="787"/>
                      </a:lnTo>
                      <a:lnTo>
                        <a:pt x="246" y="889"/>
                      </a:lnTo>
                      <a:lnTo>
                        <a:pt x="276" y="916"/>
                      </a:lnTo>
                      <a:lnTo>
                        <a:pt x="276" y="998"/>
                      </a:lnTo>
                      <a:lnTo>
                        <a:pt x="299" y="1015"/>
                      </a:lnTo>
                      <a:lnTo>
                        <a:pt x="312" y="1005"/>
                      </a:lnTo>
                      <a:lnTo>
                        <a:pt x="344" y="1005"/>
                      </a:lnTo>
                      <a:lnTo>
                        <a:pt x="379" y="974"/>
                      </a:lnTo>
                      <a:lnTo>
                        <a:pt x="397" y="973"/>
                      </a:lnTo>
                      <a:lnTo>
                        <a:pt x="399" y="943"/>
                      </a:lnTo>
                      <a:lnTo>
                        <a:pt x="428" y="941"/>
                      </a:lnTo>
                      <a:lnTo>
                        <a:pt x="426" y="904"/>
                      </a:lnTo>
                      <a:lnTo>
                        <a:pt x="438" y="906"/>
                      </a:lnTo>
                      <a:lnTo>
                        <a:pt x="463" y="882"/>
                      </a:lnTo>
                      <a:lnTo>
                        <a:pt x="465" y="843"/>
                      </a:lnTo>
                      <a:lnTo>
                        <a:pt x="446" y="828"/>
                      </a:lnTo>
                      <a:lnTo>
                        <a:pt x="448" y="790"/>
                      </a:lnTo>
                      <a:lnTo>
                        <a:pt x="557" y="689"/>
                      </a:lnTo>
                      <a:lnTo>
                        <a:pt x="481" y="689"/>
                      </a:lnTo>
                      <a:lnTo>
                        <a:pt x="477" y="638"/>
                      </a:lnTo>
                      <a:lnTo>
                        <a:pt x="467" y="626"/>
                      </a:lnTo>
                      <a:lnTo>
                        <a:pt x="457" y="630"/>
                      </a:lnTo>
                      <a:lnTo>
                        <a:pt x="391" y="566"/>
                      </a:lnTo>
                      <a:lnTo>
                        <a:pt x="423" y="563"/>
                      </a:lnTo>
                      <a:lnTo>
                        <a:pt x="463" y="599"/>
                      </a:lnTo>
                      <a:lnTo>
                        <a:pt x="513" y="638"/>
                      </a:lnTo>
                      <a:lnTo>
                        <a:pt x="515" y="657"/>
                      </a:lnTo>
                      <a:lnTo>
                        <a:pt x="571" y="657"/>
                      </a:lnTo>
                      <a:lnTo>
                        <a:pt x="569" y="642"/>
                      </a:lnTo>
                      <a:lnTo>
                        <a:pt x="620" y="597"/>
                      </a:lnTo>
                      <a:lnTo>
                        <a:pt x="575" y="593"/>
                      </a:lnTo>
                      <a:lnTo>
                        <a:pt x="563" y="587"/>
                      </a:lnTo>
                      <a:lnTo>
                        <a:pt x="554" y="587"/>
                      </a:lnTo>
                      <a:lnTo>
                        <a:pt x="515" y="551"/>
                      </a:lnTo>
                      <a:lnTo>
                        <a:pt x="532" y="532"/>
                      </a:lnTo>
                      <a:lnTo>
                        <a:pt x="554" y="539"/>
                      </a:lnTo>
                      <a:lnTo>
                        <a:pt x="585" y="568"/>
                      </a:lnTo>
                      <a:lnTo>
                        <a:pt x="688" y="568"/>
                      </a:lnTo>
                      <a:lnTo>
                        <a:pt x="718" y="595"/>
                      </a:lnTo>
                      <a:lnTo>
                        <a:pt x="722" y="652"/>
                      </a:lnTo>
                      <a:lnTo>
                        <a:pt x="769" y="687"/>
                      </a:lnTo>
                      <a:lnTo>
                        <a:pt x="804" y="662"/>
                      </a:lnTo>
                      <a:lnTo>
                        <a:pt x="802" y="634"/>
                      </a:lnTo>
                      <a:lnTo>
                        <a:pt x="841" y="601"/>
                      </a:lnTo>
                      <a:lnTo>
                        <a:pt x="872" y="601"/>
                      </a:lnTo>
                      <a:lnTo>
                        <a:pt x="908" y="630"/>
                      </a:lnTo>
                      <a:lnTo>
                        <a:pt x="941" y="632"/>
                      </a:lnTo>
                      <a:lnTo>
                        <a:pt x="941" y="703"/>
                      </a:lnTo>
                      <a:lnTo>
                        <a:pt x="973" y="728"/>
                      </a:lnTo>
                      <a:lnTo>
                        <a:pt x="980" y="726"/>
                      </a:lnTo>
                      <a:lnTo>
                        <a:pt x="992" y="736"/>
                      </a:lnTo>
                      <a:lnTo>
                        <a:pt x="998" y="730"/>
                      </a:lnTo>
                      <a:lnTo>
                        <a:pt x="954" y="693"/>
                      </a:lnTo>
                      <a:lnTo>
                        <a:pt x="954" y="664"/>
                      </a:lnTo>
                      <a:lnTo>
                        <a:pt x="961" y="664"/>
                      </a:lnTo>
                      <a:lnTo>
                        <a:pt x="995" y="695"/>
                      </a:lnTo>
                      <a:lnTo>
                        <a:pt x="1005" y="693"/>
                      </a:lnTo>
                      <a:lnTo>
                        <a:pt x="1017" y="685"/>
                      </a:lnTo>
                      <a:lnTo>
                        <a:pt x="1029" y="685"/>
                      </a:lnTo>
                      <a:lnTo>
                        <a:pt x="1027" y="650"/>
                      </a:lnTo>
                      <a:lnTo>
                        <a:pt x="1004" y="626"/>
                      </a:lnTo>
                      <a:lnTo>
                        <a:pt x="998" y="626"/>
                      </a:lnTo>
                      <a:lnTo>
                        <a:pt x="984" y="612"/>
                      </a:lnTo>
                      <a:lnTo>
                        <a:pt x="980" y="602"/>
                      </a:lnTo>
                      <a:lnTo>
                        <a:pt x="1007" y="580"/>
                      </a:lnTo>
                      <a:lnTo>
                        <a:pt x="1053" y="579"/>
                      </a:lnTo>
                      <a:lnTo>
                        <a:pt x="1099" y="530"/>
                      </a:lnTo>
                      <a:lnTo>
                        <a:pt x="1099" y="495"/>
                      </a:lnTo>
                      <a:lnTo>
                        <a:pt x="1086" y="481"/>
                      </a:lnTo>
                      <a:lnTo>
                        <a:pt x="1058" y="460"/>
                      </a:lnTo>
                      <a:lnTo>
                        <a:pt x="1068" y="448"/>
                      </a:lnTo>
                      <a:lnTo>
                        <a:pt x="1062" y="444"/>
                      </a:lnTo>
                      <a:lnTo>
                        <a:pt x="1055" y="450"/>
                      </a:lnTo>
                      <a:lnTo>
                        <a:pt x="1037" y="435"/>
                      </a:lnTo>
                      <a:lnTo>
                        <a:pt x="1031" y="435"/>
                      </a:lnTo>
                      <a:lnTo>
                        <a:pt x="1029" y="423"/>
                      </a:lnTo>
                      <a:lnTo>
                        <a:pt x="1066" y="397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12"/>
                <p:cNvSpPr>
                  <a:spLocks/>
                </p:cNvSpPr>
                <p:nvPr userDrawn="1"/>
              </p:nvSpPr>
              <p:spPr bwMode="auto">
                <a:xfrm>
                  <a:off x="8747126" y="4297363"/>
                  <a:ext cx="101600" cy="130175"/>
                </a:xfrm>
                <a:custGeom>
                  <a:avLst/>
                  <a:gdLst/>
                  <a:ahLst/>
                  <a:cxnLst>
                    <a:cxn ang="0">
                      <a:pos x="0" y="45"/>
                    </a:cxn>
                    <a:cxn ang="0">
                      <a:pos x="27" y="44"/>
                    </a:cxn>
                    <a:cxn ang="0">
                      <a:pos x="31" y="0"/>
                    </a:cxn>
                    <a:cxn ang="0">
                      <a:pos x="62" y="0"/>
                    </a:cxn>
                    <a:cxn ang="0">
                      <a:pos x="64" y="28"/>
                    </a:cxn>
                    <a:cxn ang="0">
                      <a:pos x="51" y="38"/>
                    </a:cxn>
                    <a:cxn ang="0">
                      <a:pos x="52" y="47"/>
                    </a:cxn>
                    <a:cxn ang="0">
                      <a:pos x="60" y="47"/>
                    </a:cxn>
                    <a:cxn ang="0">
                      <a:pos x="27" y="80"/>
                    </a:cxn>
                    <a:cxn ang="0">
                      <a:pos x="0" y="82"/>
                    </a:cxn>
                    <a:cxn ang="0">
                      <a:pos x="0" y="45"/>
                    </a:cxn>
                  </a:cxnLst>
                  <a:rect l="0" t="0" r="r" b="b"/>
                  <a:pathLst>
                    <a:path w="64" h="82">
                      <a:moveTo>
                        <a:pt x="0" y="45"/>
                      </a:moveTo>
                      <a:lnTo>
                        <a:pt x="27" y="44"/>
                      </a:lnTo>
                      <a:lnTo>
                        <a:pt x="31" y="0"/>
                      </a:lnTo>
                      <a:lnTo>
                        <a:pt x="62" y="0"/>
                      </a:lnTo>
                      <a:lnTo>
                        <a:pt x="64" y="28"/>
                      </a:lnTo>
                      <a:lnTo>
                        <a:pt x="51" y="38"/>
                      </a:lnTo>
                      <a:lnTo>
                        <a:pt x="52" y="47"/>
                      </a:lnTo>
                      <a:lnTo>
                        <a:pt x="60" y="47"/>
                      </a:lnTo>
                      <a:lnTo>
                        <a:pt x="27" y="80"/>
                      </a:lnTo>
                      <a:lnTo>
                        <a:pt x="0" y="82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13"/>
                <p:cNvSpPr>
                  <a:spLocks/>
                </p:cNvSpPr>
                <p:nvPr userDrawn="1"/>
              </p:nvSpPr>
              <p:spPr bwMode="auto">
                <a:xfrm>
                  <a:off x="8537576" y="4337051"/>
                  <a:ext cx="220663" cy="2063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0" y="63"/>
                    </a:cxn>
                    <a:cxn ang="0">
                      <a:pos x="69" y="90"/>
                    </a:cxn>
                    <a:cxn ang="0">
                      <a:pos x="111" y="92"/>
                    </a:cxn>
                    <a:cxn ang="0">
                      <a:pos x="139" y="119"/>
                    </a:cxn>
                    <a:cxn ang="0">
                      <a:pos x="134" y="130"/>
                    </a:cxn>
                    <a:cxn ang="0">
                      <a:pos x="111" y="110"/>
                    </a:cxn>
                    <a:cxn ang="0">
                      <a:pos x="69" y="109"/>
                    </a:cxn>
                    <a:cxn ang="0">
                      <a:pos x="26" y="69"/>
                    </a:cxn>
                    <a:cxn ang="0">
                      <a:pos x="24" y="48"/>
                    </a:cxn>
                    <a:cxn ang="0">
                      <a:pos x="0" y="2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9" h="130">
                      <a:moveTo>
                        <a:pt x="0" y="0"/>
                      </a:moveTo>
                      <a:lnTo>
                        <a:pt x="70" y="63"/>
                      </a:lnTo>
                      <a:lnTo>
                        <a:pt x="69" y="90"/>
                      </a:lnTo>
                      <a:lnTo>
                        <a:pt x="111" y="92"/>
                      </a:lnTo>
                      <a:lnTo>
                        <a:pt x="139" y="119"/>
                      </a:lnTo>
                      <a:lnTo>
                        <a:pt x="134" y="130"/>
                      </a:lnTo>
                      <a:lnTo>
                        <a:pt x="111" y="110"/>
                      </a:lnTo>
                      <a:lnTo>
                        <a:pt x="69" y="109"/>
                      </a:lnTo>
                      <a:lnTo>
                        <a:pt x="26" y="69"/>
                      </a:lnTo>
                      <a:lnTo>
                        <a:pt x="24" y="48"/>
                      </a:lnTo>
                      <a:lnTo>
                        <a:pt x="0" y="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14"/>
                <p:cNvSpPr>
                  <a:spLocks/>
                </p:cNvSpPr>
                <p:nvPr userDrawn="1"/>
              </p:nvSpPr>
              <p:spPr bwMode="auto">
                <a:xfrm>
                  <a:off x="9028113" y="4403726"/>
                  <a:ext cx="198438" cy="130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1" y="0"/>
                    </a:cxn>
                    <a:cxn ang="0">
                      <a:pos x="22" y="19"/>
                    </a:cxn>
                    <a:cxn ang="0">
                      <a:pos x="58" y="19"/>
                    </a:cxn>
                    <a:cxn ang="0">
                      <a:pos x="69" y="12"/>
                    </a:cxn>
                    <a:cxn ang="0">
                      <a:pos x="125" y="60"/>
                    </a:cxn>
                    <a:cxn ang="0">
                      <a:pos x="118" y="82"/>
                    </a:cxn>
                    <a:cxn ang="0">
                      <a:pos x="92" y="57"/>
                    </a:cxn>
                    <a:cxn ang="0">
                      <a:pos x="75" y="72"/>
                    </a:cxn>
                    <a:cxn ang="0">
                      <a:pos x="50" y="48"/>
                    </a:cxn>
                    <a:cxn ang="0">
                      <a:pos x="51" y="35"/>
                    </a:cxn>
                    <a:cxn ang="0">
                      <a:pos x="37" y="37"/>
                    </a:cxn>
                    <a:cxn ang="0">
                      <a:pos x="0" y="13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125" h="82">
                      <a:moveTo>
                        <a:pt x="2" y="2"/>
                      </a:moveTo>
                      <a:lnTo>
                        <a:pt x="21" y="0"/>
                      </a:lnTo>
                      <a:lnTo>
                        <a:pt x="22" y="19"/>
                      </a:lnTo>
                      <a:lnTo>
                        <a:pt x="58" y="19"/>
                      </a:lnTo>
                      <a:lnTo>
                        <a:pt x="69" y="12"/>
                      </a:lnTo>
                      <a:lnTo>
                        <a:pt x="125" y="60"/>
                      </a:lnTo>
                      <a:lnTo>
                        <a:pt x="118" y="82"/>
                      </a:lnTo>
                      <a:lnTo>
                        <a:pt x="92" y="57"/>
                      </a:lnTo>
                      <a:lnTo>
                        <a:pt x="75" y="72"/>
                      </a:lnTo>
                      <a:lnTo>
                        <a:pt x="50" y="48"/>
                      </a:lnTo>
                      <a:lnTo>
                        <a:pt x="51" y="35"/>
                      </a:lnTo>
                      <a:lnTo>
                        <a:pt x="37" y="37"/>
                      </a:lnTo>
                      <a:lnTo>
                        <a:pt x="0" y="1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15"/>
                <p:cNvSpPr>
                  <a:spLocks/>
                </p:cNvSpPr>
                <p:nvPr userDrawn="1"/>
              </p:nvSpPr>
              <p:spPr bwMode="auto">
                <a:xfrm>
                  <a:off x="8688388" y="4570413"/>
                  <a:ext cx="557213" cy="382588"/>
                </a:xfrm>
                <a:custGeom>
                  <a:avLst/>
                  <a:gdLst/>
                  <a:ahLst/>
                  <a:cxnLst>
                    <a:cxn ang="0">
                      <a:pos x="49" y="60"/>
                    </a:cxn>
                    <a:cxn ang="0">
                      <a:pos x="94" y="60"/>
                    </a:cxn>
                    <a:cxn ang="0">
                      <a:pos x="151" y="12"/>
                    </a:cxn>
                    <a:cxn ang="0">
                      <a:pos x="174" y="30"/>
                    </a:cxn>
                    <a:cxn ang="0">
                      <a:pos x="211" y="0"/>
                    </a:cxn>
                    <a:cxn ang="0">
                      <a:pos x="236" y="0"/>
                    </a:cxn>
                    <a:cxn ang="0">
                      <a:pos x="223" y="17"/>
                    </a:cxn>
                    <a:cxn ang="0">
                      <a:pos x="264" y="45"/>
                    </a:cxn>
                    <a:cxn ang="0">
                      <a:pos x="301" y="21"/>
                    </a:cxn>
                    <a:cxn ang="0">
                      <a:pos x="303" y="65"/>
                    </a:cxn>
                    <a:cxn ang="0">
                      <a:pos x="325" y="85"/>
                    </a:cxn>
                    <a:cxn ang="0">
                      <a:pos x="325" y="103"/>
                    </a:cxn>
                    <a:cxn ang="0">
                      <a:pos x="349" y="119"/>
                    </a:cxn>
                    <a:cxn ang="0">
                      <a:pos x="351" y="167"/>
                    </a:cxn>
                    <a:cxn ang="0">
                      <a:pos x="284" y="224"/>
                    </a:cxn>
                    <a:cxn ang="0">
                      <a:pos x="272" y="226"/>
                    </a:cxn>
                    <a:cxn ang="0">
                      <a:pos x="258" y="240"/>
                    </a:cxn>
                    <a:cxn ang="0">
                      <a:pos x="233" y="241"/>
                    </a:cxn>
                    <a:cxn ang="0">
                      <a:pos x="231" y="236"/>
                    </a:cxn>
                    <a:cxn ang="0">
                      <a:pos x="179" y="234"/>
                    </a:cxn>
                    <a:cxn ang="0">
                      <a:pos x="180" y="221"/>
                    </a:cxn>
                    <a:cxn ang="0">
                      <a:pos x="144" y="195"/>
                    </a:cxn>
                    <a:cxn ang="0">
                      <a:pos x="152" y="180"/>
                    </a:cxn>
                    <a:cxn ang="0">
                      <a:pos x="152" y="172"/>
                    </a:cxn>
                    <a:cxn ang="0">
                      <a:pos x="138" y="164"/>
                    </a:cxn>
                    <a:cxn ang="0">
                      <a:pos x="125" y="164"/>
                    </a:cxn>
                    <a:cxn ang="0">
                      <a:pos x="106" y="183"/>
                    </a:cxn>
                    <a:cxn ang="0">
                      <a:pos x="17" y="186"/>
                    </a:cxn>
                    <a:cxn ang="0">
                      <a:pos x="0" y="166"/>
                    </a:cxn>
                    <a:cxn ang="0">
                      <a:pos x="8" y="154"/>
                    </a:cxn>
                    <a:cxn ang="0">
                      <a:pos x="13" y="94"/>
                    </a:cxn>
                    <a:cxn ang="0">
                      <a:pos x="49" y="60"/>
                    </a:cxn>
                  </a:cxnLst>
                  <a:rect l="0" t="0" r="r" b="b"/>
                  <a:pathLst>
                    <a:path w="351" h="241">
                      <a:moveTo>
                        <a:pt x="49" y="60"/>
                      </a:moveTo>
                      <a:lnTo>
                        <a:pt x="94" y="60"/>
                      </a:lnTo>
                      <a:lnTo>
                        <a:pt x="151" y="12"/>
                      </a:lnTo>
                      <a:lnTo>
                        <a:pt x="174" y="30"/>
                      </a:lnTo>
                      <a:lnTo>
                        <a:pt x="211" y="0"/>
                      </a:lnTo>
                      <a:lnTo>
                        <a:pt x="236" y="0"/>
                      </a:lnTo>
                      <a:lnTo>
                        <a:pt x="223" y="17"/>
                      </a:lnTo>
                      <a:lnTo>
                        <a:pt x="264" y="45"/>
                      </a:lnTo>
                      <a:lnTo>
                        <a:pt x="301" y="21"/>
                      </a:lnTo>
                      <a:lnTo>
                        <a:pt x="303" y="65"/>
                      </a:lnTo>
                      <a:lnTo>
                        <a:pt x="325" y="85"/>
                      </a:lnTo>
                      <a:lnTo>
                        <a:pt x="325" y="103"/>
                      </a:lnTo>
                      <a:lnTo>
                        <a:pt x="349" y="119"/>
                      </a:lnTo>
                      <a:lnTo>
                        <a:pt x="351" y="167"/>
                      </a:lnTo>
                      <a:lnTo>
                        <a:pt x="284" y="224"/>
                      </a:lnTo>
                      <a:lnTo>
                        <a:pt x="272" y="226"/>
                      </a:lnTo>
                      <a:lnTo>
                        <a:pt x="258" y="240"/>
                      </a:lnTo>
                      <a:lnTo>
                        <a:pt x="233" y="241"/>
                      </a:lnTo>
                      <a:lnTo>
                        <a:pt x="231" y="236"/>
                      </a:lnTo>
                      <a:lnTo>
                        <a:pt x="179" y="234"/>
                      </a:lnTo>
                      <a:lnTo>
                        <a:pt x="180" y="221"/>
                      </a:lnTo>
                      <a:lnTo>
                        <a:pt x="144" y="195"/>
                      </a:lnTo>
                      <a:lnTo>
                        <a:pt x="152" y="180"/>
                      </a:lnTo>
                      <a:lnTo>
                        <a:pt x="152" y="172"/>
                      </a:lnTo>
                      <a:lnTo>
                        <a:pt x="138" y="164"/>
                      </a:lnTo>
                      <a:lnTo>
                        <a:pt x="125" y="164"/>
                      </a:lnTo>
                      <a:lnTo>
                        <a:pt x="106" y="183"/>
                      </a:lnTo>
                      <a:lnTo>
                        <a:pt x="17" y="186"/>
                      </a:lnTo>
                      <a:lnTo>
                        <a:pt x="0" y="166"/>
                      </a:lnTo>
                      <a:lnTo>
                        <a:pt x="8" y="154"/>
                      </a:lnTo>
                      <a:lnTo>
                        <a:pt x="13" y="94"/>
                      </a:lnTo>
                      <a:lnTo>
                        <a:pt x="49" y="6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20"/>
                <p:cNvSpPr>
                  <a:spLocks/>
                </p:cNvSpPr>
                <p:nvPr userDrawn="1"/>
              </p:nvSpPr>
              <p:spPr bwMode="auto">
                <a:xfrm>
                  <a:off x="8956676" y="3713163"/>
                  <a:ext cx="122238" cy="157163"/>
                </a:xfrm>
                <a:custGeom>
                  <a:avLst/>
                  <a:gdLst/>
                  <a:ahLst/>
                  <a:cxnLst>
                    <a:cxn ang="0">
                      <a:pos x="0" y="91"/>
                    </a:cxn>
                    <a:cxn ang="0">
                      <a:pos x="3" y="99"/>
                    </a:cxn>
                    <a:cxn ang="0">
                      <a:pos x="28" y="84"/>
                    </a:cxn>
                    <a:cxn ang="0">
                      <a:pos x="31" y="96"/>
                    </a:cxn>
                    <a:cxn ang="0">
                      <a:pos x="69" y="68"/>
                    </a:cxn>
                    <a:cxn ang="0">
                      <a:pos x="70" y="40"/>
                    </a:cxn>
                    <a:cxn ang="0">
                      <a:pos x="77" y="19"/>
                    </a:cxn>
                    <a:cxn ang="0">
                      <a:pos x="67" y="0"/>
                    </a:cxn>
                    <a:cxn ang="0">
                      <a:pos x="59" y="1"/>
                    </a:cxn>
                    <a:cxn ang="0">
                      <a:pos x="55" y="37"/>
                    </a:cxn>
                    <a:cxn ang="0">
                      <a:pos x="40" y="48"/>
                    </a:cxn>
                    <a:cxn ang="0">
                      <a:pos x="32" y="68"/>
                    </a:cxn>
                    <a:cxn ang="0">
                      <a:pos x="11" y="75"/>
                    </a:cxn>
                    <a:cxn ang="0">
                      <a:pos x="1" y="87"/>
                    </a:cxn>
                  </a:cxnLst>
                  <a:rect l="0" t="0" r="r" b="b"/>
                  <a:pathLst>
                    <a:path w="77" h="99">
                      <a:moveTo>
                        <a:pt x="0" y="91"/>
                      </a:moveTo>
                      <a:lnTo>
                        <a:pt x="3" y="99"/>
                      </a:lnTo>
                      <a:lnTo>
                        <a:pt x="28" y="84"/>
                      </a:lnTo>
                      <a:lnTo>
                        <a:pt x="31" y="96"/>
                      </a:lnTo>
                      <a:lnTo>
                        <a:pt x="69" y="68"/>
                      </a:lnTo>
                      <a:lnTo>
                        <a:pt x="70" y="40"/>
                      </a:lnTo>
                      <a:lnTo>
                        <a:pt x="77" y="19"/>
                      </a:lnTo>
                      <a:lnTo>
                        <a:pt x="67" y="0"/>
                      </a:lnTo>
                      <a:lnTo>
                        <a:pt x="59" y="1"/>
                      </a:lnTo>
                      <a:lnTo>
                        <a:pt x="55" y="37"/>
                      </a:lnTo>
                      <a:lnTo>
                        <a:pt x="40" y="48"/>
                      </a:lnTo>
                      <a:lnTo>
                        <a:pt x="32" y="68"/>
                      </a:lnTo>
                      <a:lnTo>
                        <a:pt x="11" y="75"/>
                      </a:lnTo>
                      <a:lnTo>
                        <a:pt x="1" y="87"/>
                      </a:lnTo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22"/>
                <p:cNvSpPr>
                  <a:spLocks/>
                </p:cNvSpPr>
                <p:nvPr userDrawn="1"/>
              </p:nvSpPr>
              <p:spPr bwMode="auto">
                <a:xfrm>
                  <a:off x="9040813" y="3621088"/>
                  <a:ext cx="73025" cy="79375"/>
                </a:xfrm>
                <a:custGeom>
                  <a:avLst/>
                  <a:gdLst/>
                  <a:ahLst/>
                  <a:cxnLst>
                    <a:cxn ang="0">
                      <a:pos x="5" y="50"/>
                    </a:cxn>
                    <a:cxn ang="0">
                      <a:pos x="12" y="47"/>
                    </a:cxn>
                    <a:cxn ang="0">
                      <a:pos x="17" y="36"/>
                    </a:cxn>
                    <a:cxn ang="0">
                      <a:pos x="29" y="45"/>
                    </a:cxn>
                    <a:cxn ang="0">
                      <a:pos x="33" y="34"/>
                    </a:cxn>
                    <a:cxn ang="0">
                      <a:pos x="46" y="30"/>
                    </a:cxn>
                    <a:cxn ang="0">
                      <a:pos x="42" y="15"/>
                    </a:cxn>
                    <a:cxn ang="0">
                      <a:pos x="33" y="16"/>
                    </a:cxn>
                    <a:cxn ang="0">
                      <a:pos x="13" y="0"/>
                    </a:cxn>
                    <a:cxn ang="0">
                      <a:pos x="13" y="26"/>
                    </a:cxn>
                    <a:cxn ang="0">
                      <a:pos x="7" y="34"/>
                    </a:cxn>
                    <a:cxn ang="0">
                      <a:pos x="0" y="43"/>
                    </a:cxn>
                    <a:cxn ang="0">
                      <a:pos x="5" y="50"/>
                    </a:cxn>
                  </a:cxnLst>
                  <a:rect l="0" t="0" r="r" b="b"/>
                  <a:pathLst>
                    <a:path w="46" h="50">
                      <a:moveTo>
                        <a:pt x="5" y="50"/>
                      </a:moveTo>
                      <a:lnTo>
                        <a:pt x="12" y="47"/>
                      </a:lnTo>
                      <a:lnTo>
                        <a:pt x="17" y="36"/>
                      </a:lnTo>
                      <a:lnTo>
                        <a:pt x="29" y="45"/>
                      </a:lnTo>
                      <a:lnTo>
                        <a:pt x="33" y="34"/>
                      </a:lnTo>
                      <a:lnTo>
                        <a:pt x="46" y="30"/>
                      </a:lnTo>
                      <a:lnTo>
                        <a:pt x="42" y="15"/>
                      </a:lnTo>
                      <a:lnTo>
                        <a:pt x="33" y="16"/>
                      </a:lnTo>
                      <a:lnTo>
                        <a:pt x="13" y="0"/>
                      </a:lnTo>
                      <a:lnTo>
                        <a:pt x="13" y="26"/>
                      </a:lnTo>
                      <a:lnTo>
                        <a:pt x="7" y="34"/>
                      </a:lnTo>
                      <a:lnTo>
                        <a:pt x="0" y="43"/>
                      </a:lnTo>
                      <a:lnTo>
                        <a:pt x="5" y="5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24"/>
                <p:cNvSpPr>
                  <a:spLocks/>
                </p:cNvSpPr>
                <p:nvPr userDrawn="1"/>
              </p:nvSpPr>
              <p:spPr bwMode="auto">
                <a:xfrm>
                  <a:off x="9383713" y="4995863"/>
                  <a:ext cx="115888" cy="122238"/>
                </a:xfrm>
                <a:custGeom>
                  <a:avLst/>
                  <a:gdLst/>
                  <a:ahLst/>
                  <a:cxnLst>
                    <a:cxn ang="0">
                      <a:pos x="0" y="74"/>
                    </a:cxn>
                    <a:cxn ang="0">
                      <a:pos x="24" y="77"/>
                    </a:cxn>
                    <a:cxn ang="0">
                      <a:pos x="31" y="70"/>
                    </a:cxn>
                    <a:cxn ang="0">
                      <a:pos x="48" y="41"/>
                    </a:cxn>
                    <a:cxn ang="0">
                      <a:pos x="61" y="41"/>
                    </a:cxn>
                    <a:cxn ang="0">
                      <a:pos x="61" y="34"/>
                    </a:cxn>
                    <a:cxn ang="0">
                      <a:pos x="73" y="20"/>
                    </a:cxn>
                    <a:cxn ang="0">
                      <a:pos x="70" y="8"/>
                    </a:cxn>
                    <a:cxn ang="0">
                      <a:pos x="62" y="7"/>
                    </a:cxn>
                    <a:cxn ang="0">
                      <a:pos x="58" y="0"/>
                    </a:cxn>
                    <a:cxn ang="0">
                      <a:pos x="54" y="2"/>
                    </a:cxn>
                    <a:cxn ang="0">
                      <a:pos x="50" y="16"/>
                    </a:cxn>
                    <a:cxn ang="0">
                      <a:pos x="34" y="35"/>
                    </a:cxn>
                    <a:cxn ang="0">
                      <a:pos x="21" y="39"/>
                    </a:cxn>
                    <a:cxn ang="0">
                      <a:pos x="1" y="57"/>
                    </a:cxn>
                    <a:cxn ang="0">
                      <a:pos x="0" y="74"/>
                    </a:cxn>
                  </a:cxnLst>
                  <a:rect l="0" t="0" r="r" b="b"/>
                  <a:pathLst>
                    <a:path w="73" h="77">
                      <a:moveTo>
                        <a:pt x="0" y="74"/>
                      </a:moveTo>
                      <a:lnTo>
                        <a:pt x="24" y="77"/>
                      </a:lnTo>
                      <a:lnTo>
                        <a:pt x="31" y="70"/>
                      </a:lnTo>
                      <a:lnTo>
                        <a:pt x="48" y="41"/>
                      </a:lnTo>
                      <a:lnTo>
                        <a:pt x="61" y="41"/>
                      </a:lnTo>
                      <a:lnTo>
                        <a:pt x="61" y="34"/>
                      </a:lnTo>
                      <a:lnTo>
                        <a:pt x="73" y="20"/>
                      </a:lnTo>
                      <a:lnTo>
                        <a:pt x="70" y="8"/>
                      </a:lnTo>
                      <a:lnTo>
                        <a:pt x="62" y="7"/>
                      </a:lnTo>
                      <a:lnTo>
                        <a:pt x="58" y="0"/>
                      </a:lnTo>
                      <a:lnTo>
                        <a:pt x="54" y="2"/>
                      </a:lnTo>
                      <a:lnTo>
                        <a:pt x="50" y="16"/>
                      </a:lnTo>
                      <a:lnTo>
                        <a:pt x="34" y="35"/>
                      </a:lnTo>
                      <a:lnTo>
                        <a:pt x="21" y="39"/>
                      </a:lnTo>
                      <a:lnTo>
                        <a:pt x="1" y="57"/>
                      </a:lnTo>
                      <a:lnTo>
                        <a:pt x="0" y="7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25"/>
                <p:cNvSpPr>
                  <a:spLocks/>
                </p:cNvSpPr>
                <p:nvPr userDrawn="1"/>
              </p:nvSpPr>
              <p:spPr bwMode="auto">
                <a:xfrm>
                  <a:off x="9490076" y="4900613"/>
                  <a:ext cx="73025" cy="119063"/>
                </a:xfrm>
                <a:custGeom>
                  <a:avLst/>
                  <a:gdLst/>
                  <a:ahLst/>
                  <a:cxnLst>
                    <a:cxn ang="0">
                      <a:pos x="3" y="56"/>
                    </a:cxn>
                    <a:cxn ang="0">
                      <a:pos x="12" y="58"/>
                    </a:cxn>
                    <a:cxn ang="0">
                      <a:pos x="13" y="72"/>
                    </a:cxn>
                    <a:cxn ang="0">
                      <a:pos x="18" y="75"/>
                    </a:cxn>
                    <a:cxn ang="0">
                      <a:pos x="46" y="45"/>
                    </a:cxn>
                    <a:cxn ang="0">
                      <a:pos x="41" y="32"/>
                    </a:cxn>
                    <a:cxn ang="0">
                      <a:pos x="32" y="35"/>
                    </a:cxn>
                    <a:cxn ang="0">
                      <a:pos x="23" y="22"/>
                    </a:cxn>
                    <a:cxn ang="0">
                      <a:pos x="17" y="22"/>
                    </a:cxn>
                    <a:cxn ang="0">
                      <a:pos x="14" y="11"/>
                    </a:cxn>
                    <a:cxn ang="0">
                      <a:pos x="2" y="0"/>
                    </a:cxn>
                    <a:cxn ang="0">
                      <a:pos x="0" y="12"/>
                    </a:cxn>
                    <a:cxn ang="0">
                      <a:pos x="9" y="22"/>
                    </a:cxn>
                    <a:cxn ang="0">
                      <a:pos x="14" y="36"/>
                    </a:cxn>
                    <a:cxn ang="0">
                      <a:pos x="12" y="43"/>
                    </a:cxn>
                    <a:cxn ang="0">
                      <a:pos x="3" y="45"/>
                    </a:cxn>
                    <a:cxn ang="0">
                      <a:pos x="3" y="56"/>
                    </a:cxn>
                  </a:cxnLst>
                  <a:rect l="0" t="0" r="r" b="b"/>
                  <a:pathLst>
                    <a:path w="46" h="75">
                      <a:moveTo>
                        <a:pt x="3" y="56"/>
                      </a:moveTo>
                      <a:lnTo>
                        <a:pt x="12" y="58"/>
                      </a:lnTo>
                      <a:lnTo>
                        <a:pt x="13" y="72"/>
                      </a:lnTo>
                      <a:lnTo>
                        <a:pt x="18" y="75"/>
                      </a:lnTo>
                      <a:lnTo>
                        <a:pt x="46" y="45"/>
                      </a:lnTo>
                      <a:lnTo>
                        <a:pt x="41" y="32"/>
                      </a:lnTo>
                      <a:lnTo>
                        <a:pt x="32" y="35"/>
                      </a:lnTo>
                      <a:lnTo>
                        <a:pt x="23" y="22"/>
                      </a:lnTo>
                      <a:lnTo>
                        <a:pt x="17" y="22"/>
                      </a:lnTo>
                      <a:lnTo>
                        <a:pt x="14" y="11"/>
                      </a:lnTo>
                      <a:lnTo>
                        <a:pt x="2" y="0"/>
                      </a:lnTo>
                      <a:lnTo>
                        <a:pt x="0" y="12"/>
                      </a:lnTo>
                      <a:lnTo>
                        <a:pt x="9" y="22"/>
                      </a:lnTo>
                      <a:lnTo>
                        <a:pt x="14" y="36"/>
                      </a:lnTo>
                      <a:lnTo>
                        <a:pt x="12" y="43"/>
                      </a:lnTo>
                      <a:lnTo>
                        <a:pt x="3" y="45"/>
                      </a:lnTo>
                      <a:lnTo>
                        <a:pt x="3" y="56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11"/>
                <p:cNvSpPr>
                  <a:spLocks/>
                </p:cNvSpPr>
                <p:nvPr userDrawn="1"/>
              </p:nvSpPr>
              <p:spPr bwMode="auto">
                <a:xfrm>
                  <a:off x="7856538" y="4543426"/>
                  <a:ext cx="95250" cy="146050"/>
                </a:xfrm>
                <a:custGeom>
                  <a:avLst/>
                  <a:gdLst/>
                  <a:ahLst/>
                  <a:cxnLst>
                    <a:cxn ang="0">
                      <a:pos x="1" y="92"/>
                    </a:cxn>
                    <a:cxn ang="0">
                      <a:pos x="0" y="70"/>
                    </a:cxn>
                    <a:cxn ang="0">
                      <a:pos x="11" y="61"/>
                    </a:cxn>
                    <a:cxn ang="0">
                      <a:pos x="13" y="21"/>
                    </a:cxn>
                    <a:cxn ang="0">
                      <a:pos x="29" y="22"/>
                    </a:cxn>
                    <a:cxn ang="0">
                      <a:pos x="57" y="0"/>
                    </a:cxn>
                    <a:cxn ang="0">
                      <a:pos x="60" y="17"/>
                    </a:cxn>
                    <a:cxn ang="0">
                      <a:pos x="40" y="39"/>
                    </a:cxn>
                    <a:cxn ang="0">
                      <a:pos x="36" y="63"/>
                    </a:cxn>
                    <a:cxn ang="0">
                      <a:pos x="26" y="66"/>
                    </a:cxn>
                    <a:cxn ang="0">
                      <a:pos x="17" y="73"/>
                    </a:cxn>
                    <a:cxn ang="0">
                      <a:pos x="16" y="90"/>
                    </a:cxn>
                    <a:cxn ang="0">
                      <a:pos x="1" y="92"/>
                    </a:cxn>
                  </a:cxnLst>
                  <a:rect l="0" t="0" r="r" b="b"/>
                  <a:pathLst>
                    <a:path w="60" h="92">
                      <a:moveTo>
                        <a:pt x="1" y="92"/>
                      </a:moveTo>
                      <a:lnTo>
                        <a:pt x="0" y="70"/>
                      </a:lnTo>
                      <a:lnTo>
                        <a:pt x="11" y="61"/>
                      </a:lnTo>
                      <a:lnTo>
                        <a:pt x="13" y="21"/>
                      </a:lnTo>
                      <a:lnTo>
                        <a:pt x="29" y="22"/>
                      </a:lnTo>
                      <a:lnTo>
                        <a:pt x="57" y="0"/>
                      </a:lnTo>
                      <a:lnTo>
                        <a:pt x="60" y="17"/>
                      </a:lnTo>
                      <a:lnTo>
                        <a:pt x="40" y="39"/>
                      </a:lnTo>
                      <a:lnTo>
                        <a:pt x="36" y="63"/>
                      </a:lnTo>
                      <a:lnTo>
                        <a:pt x="26" y="66"/>
                      </a:lnTo>
                      <a:lnTo>
                        <a:pt x="17" y="73"/>
                      </a:lnTo>
                      <a:lnTo>
                        <a:pt x="16" y="90"/>
                      </a:lnTo>
                      <a:lnTo>
                        <a:pt x="1" y="9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16"/>
                <p:cNvSpPr>
                  <a:spLocks/>
                </p:cNvSpPr>
                <p:nvPr userDrawn="1"/>
              </p:nvSpPr>
              <p:spPr bwMode="auto">
                <a:xfrm>
                  <a:off x="7258051" y="3683001"/>
                  <a:ext cx="60325" cy="114300"/>
                </a:xfrm>
                <a:custGeom>
                  <a:avLst/>
                  <a:gdLst/>
                  <a:ahLst/>
                  <a:cxnLst>
                    <a:cxn ang="0">
                      <a:pos x="14" y="72"/>
                    </a:cxn>
                    <a:cxn ang="0">
                      <a:pos x="38" y="65"/>
                    </a:cxn>
                    <a:cxn ang="0">
                      <a:pos x="22" y="21"/>
                    </a:cxn>
                    <a:cxn ang="0">
                      <a:pos x="30" y="7"/>
                    </a:cxn>
                    <a:cxn ang="0">
                      <a:pos x="19" y="10"/>
                    </a:cxn>
                    <a:cxn ang="0">
                      <a:pos x="22" y="1"/>
                    </a:cxn>
                    <a:cxn ang="0">
                      <a:pos x="9" y="0"/>
                    </a:cxn>
                    <a:cxn ang="0">
                      <a:pos x="9" y="25"/>
                    </a:cxn>
                    <a:cxn ang="0">
                      <a:pos x="14" y="36"/>
                    </a:cxn>
                    <a:cxn ang="0">
                      <a:pos x="4" y="54"/>
                    </a:cxn>
                    <a:cxn ang="0">
                      <a:pos x="12" y="57"/>
                    </a:cxn>
                    <a:cxn ang="0">
                      <a:pos x="0" y="72"/>
                    </a:cxn>
                    <a:cxn ang="0">
                      <a:pos x="14" y="72"/>
                    </a:cxn>
                  </a:cxnLst>
                  <a:rect l="0" t="0" r="r" b="b"/>
                  <a:pathLst>
                    <a:path w="38" h="72">
                      <a:moveTo>
                        <a:pt x="14" y="72"/>
                      </a:moveTo>
                      <a:lnTo>
                        <a:pt x="38" y="65"/>
                      </a:lnTo>
                      <a:lnTo>
                        <a:pt x="22" y="21"/>
                      </a:lnTo>
                      <a:lnTo>
                        <a:pt x="30" y="7"/>
                      </a:lnTo>
                      <a:lnTo>
                        <a:pt x="19" y="10"/>
                      </a:lnTo>
                      <a:lnTo>
                        <a:pt x="22" y="1"/>
                      </a:lnTo>
                      <a:lnTo>
                        <a:pt x="9" y="0"/>
                      </a:lnTo>
                      <a:lnTo>
                        <a:pt x="9" y="25"/>
                      </a:lnTo>
                      <a:lnTo>
                        <a:pt x="14" y="36"/>
                      </a:lnTo>
                      <a:lnTo>
                        <a:pt x="4" y="54"/>
                      </a:lnTo>
                      <a:lnTo>
                        <a:pt x="12" y="57"/>
                      </a:lnTo>
                      <a:lnTo>
                        <a:pt x="0" y="72"/>
                      </a:lnTo>
                      <a:lnTo>
                        <a:pt x="14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23"/>
                <p:cNvSpPr>
                  <a:spLocks/>
                </p:cNvSpPr>
                <p:nvPr userDrawn="1"/>
              </p:nvSpPr>
              <p:spPr bwMode="auto">
                <a:xfrm>
                  <a:off x="9393238" y="5130801"/>
                  <a:ext cx="20638" cy="22225"/>
                </a:xfrm>
                <a:custGeom>
                  <a:avLst/>
                  <a:gdLst/>
                  <a:ahLst/>
                  <a:cxnLst>
                    <a:cxn ang="0">
                      <a:pos x="7" y="14"/>
                    </a:cxn>
                    <a:cxn ang="0">
                      <a:pos x="13" y="10"/>
                    </a:cxn>
                    <a:cxn ang="0">
                      <a:pos x="10" y="1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" y="13"/>
                    </a:cxn>
                    <a:cxn ang="0">
                      <a:pos x="7" y="14"/>
                    </a:cxn>
                  </a:cxnLst>
                  <a:rect l="0" t="0" r="r" b="b"/>
                  <a:pathLst>
                    <a:path w="13" h="14">
                      <a:moveTo>
                        <a:pt x="7" y="14"/>
                      </a:moveTo>
                      <a:lnTo>
                        <a:pt x="13" y="10"/>
                      </a:lnTo>
                      <a:lnTo>
                        <a:pt x="10" y="1"/>
                      </a:lnTo>
                      <a:lnTo>
                        <a:pt x="0" y="0"/>
                      </a:lnTo>
                      <a:lnTo>
                        <a:pt x="2" y="9"/>
                      </a:lnTo>
                      <a:lnTo>
                        <a:pt x="1" y="13"/>
                      </a:lnTo>
                      <a:lnTo>
                        <a:pt x="7" y="1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noFill/>
                  </a:endParaRPr>
                </a:p>
              </p:txBody>
            </p:sp>
            <p:sp>
              <p:nvSpPr>
                <p:cNvPr id="209" name="Freeform 17"/>
                <p:cNvSpPr>
                  <a:spLocks/>
                </p:cNvSpPr>
                <p:nvPr userDrawn="1"/>
              </p:nvSpPr>
              <p:spPr bwMode="auto">
                <a:xfrm>
                  <a:off x="7213601" y="3740151"/>
                  <a:ext cx="44450" cy="41275"/>
                </a:xfrm>
                <a:custGeom>
                  <a:avLst/>
                  <a:gdLst/>
                  <a:ahLst/>
                  <a:cxnLst>
                    <a:cxn ang="0">
                      <a:pos x="20" y="3"/>
                    </a:cxn>
                    <a:cxn ang="0">
                      <a:pos x="28" y="9"/>
                    </a:cxn>
                    <a:cxn ang="0">
                      <a:pos x="22" y="23"/>
                    </a:cxn>
                    <a:cxn ang="0">
                      <a:pos x="3" y="26"/>
                    </a:cxn>
                    <a:cxn ang="0">
                      <a:pos x="1" y="19"/>
                    </a:cxn>
                    <a:cxn ang="0">
                      <a:pos x="5" y="16"/>
                    </a:cxn>
                    <a:cxn ang="0">
                      <a:pos x="0" y="13"/>
                    </a:cxn>
                    <a:cxn ang="0">
                      <a:pos x="1" y="6"/>
                    </a:cxn>
                    <a:cxn ang="0">
                      <a:pos x="7" y="6"/>
                    </a:cxn>
                    <a:cxn ang="0">
                      <a:pos x="11" y="0"/>
                    </a:cxn>
                    <a:cxn ang="0">
                      <a:pos x="17" y="0"/>
                    </a:cxn>
                    <a:cxn ang="0">
                      <a:pos x="20" y="3"/>
                    </a:cxn>
                  </a:cxnLst>
                  <a:rect l="0" t="0" r="r" b="b"/>
                  <a:pathLst>
                    <a:path w="28" h="26">
                      <a:moveTo>
                        <a:pt x="20" y="3"/>
                      </a:moveTo>
                      <a:lnTo>
                        <a:pt x="28" y="9"/>
                      </a:lnTo>
                      <a:lnTo>
                        <a:pt x="22" y="23"/>
                      </a:lnTo>
                      <a:lnTo>
                        <a:pt x="3" y="26"/>
                      </a:lnTo>
                      <a:lnTo>
                        <a:pt x="1" y="19"/>
                      </a:lnTo>
                      <a:lnTo>
                        <a:pt x="5" y="16"/>
                      </a:lnTo>
                      <a:lnTo>
                        <a:pt x="0" y="13"/>
                      </a:lnTo>
                      <a:lnTo>
                        <a:pt x="1" y="6"/>
                      </a:lnTo>
                      <a:lnTo>
                        <a:pt x="7" y="6"/>
                      </a:lnTo>
                      <a:lnTo>
                        <a:pt x="11" y="0"/>
                      </a:lnTo>
                      <a:lnTo>
                        <a:pt x="17" y="0"/>
                      </a:lnTo>
                      <a:lnTo>
                        <a:pt x="20" y="3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88" name="Freeform 19"/>
              <p:cNvSpPr>
                <a:spLocks/>
              </p:cNvSpPr>
              <p:nvPr userDrawn="1"/>
            </p:nvSpPr>
            <p:spPr bwMode="auto">
              <a:xfrm>
                <a:off x="8873856" y="4479060"/>
                <a:ext cx="51328" cy="7479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0"/>
                  </a:cxn>
                  <a:cxn ang="0">
                    <a:pos x="18" y="14"/>
                  </a:cxn>
                  <a:cxn ang="0">
                    <a:pos x="18" y="25"/>
                  </a:cxn>
                  <a:cxn ang="0">
                    <a:pos x="30" y="31"/>
                  </a:cxn>
                  <a:cxn ang="0">
                    <a:pos x="35" y="40"/>
                  </a:cxn>
                  <a:cxn ang="0">
                    <a:pos x="29" y="51"/>
                  </a:cxn>
                  <a:cxn ang="0">
                    <a:pos x="15" y="50"/>
                  </a:cxn>
                  <a:cxn ang="0">
                    <a:pos x="6" y="40"/>
                  </a:cxn>
                  <a:cxn ang="0">
                    <a:pos x="15" y="37"/>
                  </a:cxn>
                  <a:cxn ang="0">
                    <a:pos x="14" y="27"/>
                  </a:cxn>
                  <a:cxn ang="0">
                    <a:pos x="5" y="20"/>
                  </a:cxn>
                  <a:cxn ang="0">
                    <a:pos x="0" y="0"/>
                  </a:cxn>
                </a:cxnLst>
                <a:rect l="0" t="0" r="r" b="b"/>
                <a:pathLst>
                  <a:path w="35" h="51">
                    <a:moveTo>
                      <a:pt x="0" y="0"/>
                    </a:moveTo>
                    <a:lnTo>
                      <a:pt x="17" y="0"/>
                    </a:lnTo>
                    <a:lnTo>
                      <a:pt x="18" y="14"/>
                    </a:lnTo>
                    <a:lnTo>
                      <a:pt x="18" y="25"/>
                    </a:lnTo>
                    <a:lnTo>
                      <a:pt x="30" y="31"/>
                    </a:lnTo>
                    <a:lnTo>
                      <a:pt x="35" y="40"/>
                    </a:lnTo>
                    <a:lnTo>
                      <a:pt x="29" y="51"/>
                    </a:lnTo>
                    <a:lnTo>
                      <a:pt x="15" y="50"/>
                    </a:lnTo>
                    <a:lnTo>
                      <a:pt x="6" y="40"/>
                    </a:lnTo>
                    <a:lnTo>
                      <a:pt x="15" y="37"/>
                    </a:lnTo>
                    <a:lnTo>
                      <a:pt x="14" y="27"/>
                    </a:lnTo>
                    <a:lnTo>
                      <a:pt x="5" y="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1"/>
              <p:cNvSpPr>
                <a:spLocks/>
              </p:cNvSpPr>
              <p:nvPr userDrawn="1"/>
            </p:nvSpPr>
            <p:spPr bwMode="auto">
              <a:xfrm>
                <a:off x="8966245" y="4218023"/>
                <a:ext cx="24931" cy="43995"/>
              </a:xfrm>
              <a:custGeom>
                <a:avLst/>
                <a:gdLst/>
                <a:ahLst/>
                <a:cxnLst>
                  <a:cxn ang="0">
                    <a:pos x="15" y="30"/>
                  </a:cxn>
                  <a:cxn ang="0">
                    <a:pos x="6" y="16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17" y="8"/>
                  </a:cxn>
                  <a:cxn ang="0">
                    <a:pos x="15" y="30"/>
                  </a:cxn>
                </a:cxnLst>
                <a:rect l="0" t="0" r="r" b="b"/>
                <a:pathLst>
                  <a:path w="17" h="30">
                    <a:moveTo>
                      <a:pt x="15" y="30"/>
                    </a:moveTo>
                    <a:lnTo>
                      <a:pt x="6" y="1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17" y="8"/>
                    </a:lnTo>
                    <a:lnTo>
                      <a:pt x="15" y="3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Oval 68"/>
              <p:cNvSpPr>
                <a:spLocks noChangeArrowheads="1"/>
              </p:cNvSpPr>
              <p:nvPr userDrawn="1"/>
            </p:nvSpPr>
            <p:spPr bwMode="auto">
              <a:xfrm>
                <a:off x="8848925" y="4398402"/>
                <a:ext cx="29330" cy="30797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18"/>
              <p:cNvSpPr>
                <a:spLocks/>
              </p:cNvSpPr>
              <p:nvPr userDrawn="1"/>
            </p:nvSpPr>
            <p:spPr bwMode="auto">
              <a:xfrm>
                <a:off x="8841593" y="4394003"/>
                <a:ext cx="32263" cy="2786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5"/>
                  </a:cxn>
                  <a:cxn ang="0">
                    <a:pos x="11" y="19"/>
                  </a:cxn>
                  <a:cxn ang="0">
                    <a:pos x="22" y="17"/>
                  </a:cxn>
                  <a:cxn ang="0">
                    <a:pos x="9" y="0"/>
                  </a:cxn>
                </a:cxnLst>
                <a:rect l="0" t="0" r="r" b="b"/>
                <a:pathLst>
                  <a:path w="22" h="19">
                    <a:moveTo>
                      <a:pt x="9" y="0"/>
                    </a:moveTo>
                    <a:lnTo>
                      <a:pt x="0" y="15"/>
                    </a:lnTo>
                    <a:lnTo>
                      <a:pt x="11" y="19"/>
                    </a:lnTo>
                    <a:lnTo>
                      <a:pt x="22" y="17"/>
                    </a:lnTo>
                    <a:lnTo>
                      <a:pt x="9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8" name="Group 77"/>
            <p:cNvGrpSpPr/>
            <p:nvPr userDrawn="1"/>
          </p:nvGrpSpPr>
          <p:grpSpPr>
            <a:xfrm>
              <a:off x="6087506" y="3983383"/>
              <a:ext cx="3425744" cy="1287587"/>
              <a:chOff x="6087506" y="3983383"/>
              <a:chExt cx="3425744" cy="1287587"/>
            </a:xfrm>
            <a:solidFill>
              <a:schemeClr val="accent6"/>
            </a:solidFill>
          </p:grpSpPr>
          <p:sp>
            <p:nvSpPr>
              <p:cNvPr id="79" name="Oval 26"/>
              <p:cNvSpPr>
                <a:spLocks noChangeArrowheads="1"/>
              </p:cNvSpPr>
              <p:nvPr userDrawn="1"/>
            </p:nvSpPr>
            <p:spPr bwMode="auto">
              <a:xfrm>
                <a:off x="6496659" y="4839819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Oval 27"/>
              <p:cNvSpPr>
                <a:spLocks noChangeArrowheads="1"/>
              </p:cNvSpPr>
              <p:nvPr userDrawn="1"/>
            </p:nvSpPr>
            <p:spPr bwMode="auto">
              <a:xfrm>
                <a:off x="6437999" y="460224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Oval 28"/>
              <p:cNvSpPr>
                <a:spLocks noChangeArrowheads="1"/>
              </p:cNvSpPr>
              <p:nvPr userDrawn="1"/>
            </p:nvSpPr>
            <p:spPr bwMode="auto">
              <a:xfrm>
                <a:off x="9114362" y="503779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Oval 29"/>
              <p:cNvSpPr>
                <a:spLocks noChangeArrowheads="1"/>
              </p:cNvSpPr>
              <p:nvPr userDrawn="1"/>
            </p:nvSpPr>
            <p:spPr bwMode="auto">
              <a:xfrm>
                <a:off x="9483920" y="524017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Oval 30"/>
              <p:cNvSpPr>
                <a:spLocks noChangeArrowheads="1"/>
              </p:cNvSpPr>
              <p:nvPr userDrawn="1"/>
            </p:nvSpPr>
            <p:spPr bwMode="auto">
              <a:xfrm>
                <a:off x="8816662" y="466090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Oval 31"/>
              <p:cNvSpPr>
                <a:spLocks noChangeArrowheads="1"/>
              </p:cNvSpPr>
              <p:nvPr userDrawn="1"/>
            </p:nvSpPr>
            <p:spPr bwMode="auto">
              <a:xfrm>
                <a:off x="8643615" y="425028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Oval 32"/>
              <p:cNvSpPr>
                <a:spLocks noChangeArrowheads="1"/>
              </p:cNvSpPr>
              <p:nvPr userDrawn="1"/>
            </p:nvSpPr>
            <p:spPr bwMode="auto">
              <a:xfrm>
                <a:off x="8894387" y="4499591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Oval 33"/>
              <p:cNvSpPr>
                <a:spLocks noChangeArrowheads="1"/>
              </p:cNvSpPr>
              <p:nvPr userDrawn="1"/>
            </p:nvSpPr>
            <p:spPr bwMode="auto">
              <a:xfrm>
                <a:off x="9061568" y="41564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Oval 34"/>
              <p:cNvSpPr>
                <a:spLocks noChangeArrowheads="1"/>
              </p:cNvSpPr>
              <p:nvPr userDrawn="1"/>
            </p:nvSpPr>
            <p:spPr bwMode="auto">
              <a:xfrm>
                <a:off x="8351782" y="4437998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Oval 35"/>
              <p:cNvSpPr>
                <a:spLocks noChangeArrowheads="1"/>
              </p:cNvSpPr>
              <p:nvPr userDrawn="1"/>
            </p:nvSpPr>
            <p:spPr bwMode="auto">
              <a:xfrm>
                <a:off x="8086345" y="445119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Oval 36"/>
              <p:cNvSpPr>
                <a:spLocks noChangeArrowheads="1"/>
              </p:cNvSpPr>
              <p:nvPr userDrawn="1"/>
            </p:nvSpPr>
            <p:spPr bwMode="auto">
              <a:xfrm>
                <a:off x="7666926" y="503339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Oval 37"/>
              <p:cNvSpPr>
                <a:spLocks noChangeArrowheads="1"/>
              </p:cNvSpPr>
              <p:nvPr userDrawn="1"/>
            </p:nvSpPr>
            <p:spPr bwMode="auto">
              <a:xfrm>
                <a:off x="7436686" y="4118301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Oval 38"/>
              <p:cNvSpPr>
                <a:spLocks noChangeArrowheads="1"/>
              </p:cNvSpPr>
              <p:nvPr userDrawn="1"/>
            </p:nvSpPr>
            <p:spPr bwMode="auto">
              <a:xfrm>
                <a:off x="7376559" y="410363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Oval 39"/>
              <p:cNvSpPr>
                <a:spLocks noChangeArrowheads="1"/>
              </p:cNvSpPr>
              <p:nvPr userDrawn="1"/>
            </p:nvSpPr>
            <p:spPr bwMode="auto">
              <a:xfrm>
                <a:off x="7556939" y="407723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Oval 40"/>
              <p:cNvSpPr>
                <a:spLocks noChangeArrowheads="1"/>
              </p:cNvSpPr>
              <p:nvPr userDrawn="1"/>
            </p:nvSpPr>
            <p:spPr bwMode="auto">
              <a:xfrm>
                <a:off x="7457217" y="417549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Oval 41"/>
              <p:cNvSpPr>
                <a:spLocks noChangeArrowheads="1"/>
              </p:cNvSpPr>
              <p:nvPr userDrawn="1"/>
            </p:nvSpPr>
            <p:spPr bwMode="auto">
              <a:xfrm>
                <a:off x="7549606" y="416962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Oval 42"/>
              <p:cNvSpPr>
                <a:spLocks noChangeArrowheads="1"/>
              </p:cNvSpPr>
              <p:nvPr userDrawn="1"/>
            </p:nvSpPr>
            <p:spPr bwMode="auto">
              <a:xfrm>
                <a:off x="7568671" y="413589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Oval 43"/>
              <p:cNvSpPr>
                <a:spLocks noChangeArrowheads="1"/>
              </p:cNvSpPr>
              <p:nvPr userDrawn="1"/>
            </p:nvSpPr>
            <p:spPr bwMode="auto">
              <a:xfrm>
                <a:off x="7405889" y="4247353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Oval 44"/>
              <p:cNvSpPr>
                <a:spLocks noChangeArrowheads="1"/>
              </p:cNvSpPr>
              <p:nvPr userDrawn="1"/>
            </p:nvSpPr>
            <p:spPr bwMode="auto">
              <a:xfrm>
                <a:off x="7351629" y="4357340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Oval 45"/>
              <p:cNvSpPr>
                <a:spLocks noChangeArrowheads="1"/>
              </p:cNvSpPr>
              <p:nvPr userDrawn="1"/>
            </p:nvSpPr>
            <p:spPr bwMode="auto">
              <a:xfrm>
                <a:off x="7561338" y="423415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Oval 46"/>
              <p:cNvSpPr>
                <a:spLocks noChangeArrowheads="1"/>
              </p:cNvSpPr>
              <p:nvPr userDrawn="1"/>
            </p:nvSpPr>
            <p:spPr bwMode="auto">
              <a:xfrm>
                <a:off x="7592135" y="4171095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Oval 47"/>
              <p:cNvSpPr>
                <a:spLocks noChangeArrowheads="1"/>
              </p:cNvSpPr>
              <p:nvPr userDrawn="1"/>
            </p:nvSpPr>
            <p:spPr bwMode="auto">
              <a:xfrm>
                <a:off x="7627331" y="41520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Oval 48"/>
              <p:cNvSpPr>
                <a:spLocks noChangeArrowheads="1"/>
              </p:cNvSpPr>
              <p:nvPr userDrawn="1"/>
            </p:nvSpPr>
            <p:spPr bwMode="auto">
              <a:xfrm>
                <a:off x="7627331" y="4190159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Oval 49"/>
              <p:cNvSpPr>
                <a:spLocks noChangeArrowheads="1"/>
              </p:cNvSpPr>
              <p:nvPr userDrawn="1"/>
            </p:nvSpPr>
            <p:spPr bwMode="auto">
              <a:xfrm>
                <a:off x="7707988" y="423268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Oval 50"/>
              <p:cNvSpPr>
                <a:spLocks noChangeArrowheads="1"/>
              </p:cNvSpPr>
              <p:nvPr userDrawn="1"/>
            </p:nvSpPr>
            <p:spPr bwMode="auto">
              <a:xfrm>
                <a:off x="7669859" y="420922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Oval 51"/>
              <p:cNvSpPr>
                <a:spLocks noChangeArrowheads="1"/>
              </p:cNvSpPr>
              <p:nvPr userDrawn="1"/>
            </p:nvSpPr>
            <p:spPr bwMode="auto">
              <a:xfrm>
                <a:off x="7659594" y="411243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Oval 52"/>
              <p:cNvSpPr>
                <a:spLocks noChangeArrowheads="1"/>
              </p:cNvSpPr>
              <p:nvPr userDrawn="1"/>
            </p:nvSpPr>
            <p:spPr bwMode="auto">
              <a:xfrm>
                <a:off x="7707988" y="419162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Oval 53"/>
              <p:cNvSpPr>
                <a:spLocks noChangeArrowheads="1"/>
              </p:cNvSpPr>
              <p:nvPr userDrawn="1"/>
            </p:nvSpPr>
            <p:spPr bwMode="auto">
              <a:xfrm>
                <a:off x="7665460" y="4157896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Oval 54"/>
              <p:cNvSpPr>
                <a:spLocks noChangeArrowheads="1"/>
              </p:cNvSpPr>
              <p:nvPr userDrawn="1"/>
            </p:nvSpPr>
            <p:spPr bwMode="auto">
              <a:xfrm>
                <a:off x="7360428" y="425321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Oval 55"/>
              <p:cNvSpPr>
                <a:spLocks noChangeArrowheads="1"/>
              </p:cNvSpPr>
              <p:nvPr userDrawn="1"/>
            </p:nvSpPr>
            <p:spPr bwMode="auto">
              <a:xfrm>
                <a:off x="6597848" y="398338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Oval 56"/>
              <p:cNvSpPr>
                <a:spLocks noChangeArrowheads="1"/>
              </p:cNvSpPr>
              <p:nvPr userDrawn="1"/>
            </p:nvSpPr>
            <p:spPr bwMode="auto">
              <a:xfrm>
                <a:off x="6143233" y="4068440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Oval 57"/>
              <p:cNvSpPr>
                <a:spLocks noChangeArrowheads="1"/>
              </p:cNvSpPr>
              <p:nvPr userDrawn="1"/>
            </p:nvSpPr>
            <p:spPr bwMode="auto">
              <a:xfrm>
                <a:off x="6087506" y="435880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Oval 58"/>
              <p:cNvSpPr>
                <a:spLocks noChangeArrowheads="1"/>
              </p:cNvSpPr>
              <p:nvPr userDrawn="1"/>
            </p:nvSpPr>
            <p:spPr bwMode="auto">
              <a:xfrm>
                <a:off x="6251754" y="446732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Oval 59"/>
              <p:cNvSpPr>
                <a:spLocks noChangeArrowheads="1"/>
              </p:cNvSpPr>
              <p:nvPr userDrawn="1"/>
            </p:nvSpPr>
            <p:spPr bwMode="auto">
              <a:xfrm>
                <a:off x="6709302" y="4745963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Oval 60"/>
              <p:cNvSpPr>
                <a:spLocks noChangeArrowheads="1"/>
              </p:cNvSpPr>
              <p:nvPr userDrawn="1"/>
            </p:nvSpPr>
            <p:spPr bwMode="auto">
              <a:xfrm>
                <a:off x="6565585" y="500113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Oval 61"/>
              <p:cNvSpPr>
                <a:spLocks noChangeArrowheads="1"/>
              </p:cNvSpPr>
              <p:nvPr userDrawn="1"/>
            </p:nvSpPr>
            <p:spPr bwMode="auto">
              <a:xfrm>
                <a:off x="7537874" y="412856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Oval 62"/>
              <p:cNvSpPr>
                <a:spLocks noChangeArrowheads="1"/>
              </p:cNvSpPr>
              <p:nvPr userDrawn="1"/>
            </p:nvSpPr>
            <p:spPr bwMode="auto">
              <a:xfrm>
                <a:off x="7520276" y="398778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Oval 63"/>
              <p:cNvSpPr>
                <a:spLocks noChangeArrowheads="1"/>
              </p:cNvSpPr>
              <p:nvPr userDrawn="1"/>
            </p:nvSpPr>
            <p:spPr bwMode="auto">
              <a:xfrm>
                <a:off x="7574537" y="4002447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Oval 64"/>
              <p:cNvSpPr>
                <a:spLocks noChangeArrowheads="1"/>
              </p:cNvSpPr>
              <p:nvPr userDrawn="1"/>
            </p:nvSpPr>
            <p:spPr bwMode="auto">
              <a:xfrm>
                <a:off x="7688924" y="399071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Oval 65"/>
              <p:cNvSpPr>
                <a:spLocks noChangeArrowheads="1"/>
              </p:cNvSpPr>
              <p:nvPr userDrawn="1"/>
            </p:nvSpPr>
            <p:spPr bwMode="auto">
              <a:xfrm>
                <a:off x="7595068" y="411830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Oval 66"/>
              <p:cNvSpPr>
                <a:spLocks noChangeArrowheads="1"/>
              </p:cNvSpPr>
              <p:nvPr userDrawn="1"/>
            </p:nvSpPr>
            <p:spPr bwMode="auto">
              <a:xfrm>
                <a:off x="8692010" y="463744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Oval 67"/>
              <p:cNvSpPr>
                <a:spLocks noChangeArrowheads="1"/>
              </p:cNvSpPr>
              <p:nvPr userDrawn="1"/>
            </p:nvSpPr>
            <p:spPr bwMode="auto">
              <a:xfrm>
                <a:off x="8724273" y="452598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Oval 69"/>
              <p:cNvSpPr>
                <a:spLocks noChangeArrowheads="1"/>
              </p:cNvSpPr>
              <p:nvPr userDrawn="1"/>
            </p:nvSpPr>
            <p:spPr bwMode="auto">
              <a:xfrm>
                <a:off x="8001288" y="443653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74" name="Rectangle 73">
            <a:hlinkClick r:id="rId6"/>
          </p:cNvPr>
          <p:cNvSpPr/>
          <p:nvPr userDrawn="1"/>
        </p:nvSpPr>
        <p:spPr>
          <a:xfrm>
            <a:off x="1447800" y="51085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Rectangle 75">
            <a:hlinkClick r:id="rId6"/>
          </p:cNvPr>
          <p:cNvSpPr/>
          <p:nvPr userDrawn="1"/>
        </p:nvSpPr>
        <p:spPr>
          <a:xfrm>
            <a:off x="4962525" y="49815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1" name="Rectangle 120">
            <a:hlinkClick r:id="rId7"/>
          </p:cNvPr>
          <p:cNvSpPr/>
          <p:nvPr userDrawn="1"/>
        </p:nvSpPr>
        <p:spPr>
          <a:xfrm>
            <a:off x="4419599" y="51339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3" name="Rectangle 122">
            <a:hlinkClick r:id="rId8"/>
          </p:cNvPr>
          <p:cNvSpPr/>
          <p:nvPr userDrawn="1"/>
        </p:nvSpPr>
        <p:spPr>
          <a:xfrm>
            <a:off x="2800350" y="54991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93118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2857" name="think-cell Slide" r:id="rId4" imgW="360" imgH="360" progId="">
              <p:embed/>
            </p:oleObj>
          </a:graphicData>
        </a:graphic>
      </p:graphicFrame>
      <p:sp>
        <p:nvSpPr>
          <p:cNvPr id="1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309494" y="29124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5059256" y="2763611"/>
            <a:ext cx="519572" cy="522508"/>
          </a:xfrm>
          <a:prstGeom prst="rect">
            <a:avLst/>
          </a:prstGeom>
        </p:spPr>
      </p:pic>
      <p:sp>
        <p:nvSpPr>
          <p:cNvPr id="16" name="Rectangle 15">
            <a:hlinkClick r:id="rId6"/>
          </p:cNvPr>
          <p:cNvSpPr/>
          <p:nvPr userDrawn="1"/>
        </p:nvSpPr>
        <p:spPr>
          <a:xfrm>
            <a:off x="5639331" y="45883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hlinkClick r:id="rId6"/>
          </p:cNvPr>
          <p:cNvSpPr/>
          <p:nvPr userDrawn="1"/>
        </p:nvSpPr>
        <p:spPr>
          <a:xfrm>
            <a:off x="9154056" y="44613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hlinkClick r:id="rId7"/>
          </p:cNvPr>
          <p:cNvSpPr/>
          <p:nvPr userDrawn="1"/>
        </p:nvSpPr>
        <p:spPr>
          <a:xfrm>
            <a:off x="8611130" y="46137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hlinkClick r:id="rId8"/>
          </p:cNvPr>
          <p:cNvSpPr/>
          <p:nvPr userDrawn="1"/>
        </p:nvSpPr>
        <p:spPr>
          <a:xfrm>
            <a:off x="6991881" y="49789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7766368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3881" name="think-cell Slide" r:id="rId3" imgW="360" imgH="360" progId="">
              <p:embed/>
            </p:oleObj>
          </a:graphicData>
        </a:graphic>
      </p:graphicFrame>
    </p:spTree>
    <p:extLst>
      <p:ext uri="{BB962C8B-B14F-4D97-AF65-F5344CB8AC3E}">
        <p14:creationId xmlns="" xmlns:p14="http://schemas.microsoft.com/office/powerpoint/2010/main" val="7350252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6951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776792" y="4601752"/>
            <a:ext cx="1242328" cy="436017"/>
          </a:xfrm>
          <a:prstGeom prst="rect">
            <a:avLst/>
          </a:prstGeom>
          <a:effectLst>
            <a:outerShdw blurRad="38100" dist="25400" dir="2700000" algn="tl" rotWithShape="0">
              <a:schemeClr val="bg1">
                <a:alpha val="65000"/>
              </a:scheme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b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776792" y="5023940"/>
            <a:ext cx="1173398" cy="338554"/>
          </a:xfrm>
          <a:prstGeom prst="rect">
            <a:avLst/>
          </a:prstGeom>
          <a:effectLst/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accent1">
                  <a:lumMod val="50000"/>
                </a:scheme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272756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/>
        </p:blipFill>
        <p:spPr>
          <a:xfrm>
            <a:off x="-2054" y="237618"/>
            <a:ext cx="9908054" cy="662038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4695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217293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/>
        </p:blipFill>
        <p:spPr>
          <a:xfrm>
            <a:off x="-1175" y="2649"/>
            <a:ext cx="9907176" cy="566510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7"/>
          <p:cNvSpPr/>
          <p:nvPr userDrawn="1">
            <p:custDataLst>
              <p:tags r:id="rId2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2546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194192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98392" y="3539645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63000"/>
              </a:srgb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98392" y="3755063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404"/>
          <a:stretch/>
        </p:blipFill>
        <p:spPr>
          <a:xfrm>
            <a:off x="-2054" y="79513"/>
            <a:ext cx="9908054" cy="6778487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2654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951973" y="3008823"/>
            <a:ext cx="4612715" cy="724977"/>
          </a:xfr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lIns="0" tIns="33059" rIns="0" bIns="33059" anchor="ctr"/>
          <a:lstStyle>
            <a:lvl1pPr algn="r">
              <a:lnSpc>
                <a:spcPct val="100000"/>
              </a:lnSpc>
              <a:defRPr sz="2800" b="0">
                <a:solidFill>
                  <a:schemeClr val="bg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410200" y="3733800"/>
            <a:ext cx="4154488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0" bIns="33059" anchor="ctr"/>
          <a:lstStyle>
            <a:lvl1pPr marL="0" indent="0" algn="r">
              <a:lnSpc>
                <a:spcPct val="100000"/>
              </a:lnSpc>
              <a:buNone/>
              <a:defRPr sz="1800" b="0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7239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/>
        </p:blipFill>
        <p:spPr>
          <a:xfrm>
            <a:off x="0" y="1334528"/>
            <a:ext cx="9906483" cy="5523472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3" y="5381624"/>
            <a:ext cx="5895975" cy="147637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3680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6629400" y="5964783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chemeClr val="bg1">
                <a:alpha val="50000"/>
              </a:scheme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781800" y="6214646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72736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9785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5"/>
          <p:cNvCxnSpPr/>
          <p:nvPr userDrawn="1">
            <p:custDataLst>
              <p:tags r:id="rId3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 userDrawn="1"/>
        </p:nvGrpSpPr>
        <p:grpSpPr>
          <a:xfrm>
            <a:off x="2057400" y="957738"/>
            <a:ext cx="183356" cy="186929"/>
            <a:chOff x="3948113" y="3393281"/>
            <a:chExt cx="183356" cy="186929"/>
          </a:xfrm>
        </p:grpSpPr>
        <p:sp>
          <p:nvSpPr>
            <p:cNvPr id="18" name="Rectangle 17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0" name="Group 19"/>
          <p:cNvGrpSpPr/>
          <p:nvPr userDrawn="1"/>
        </p:nvGrpSpPr>
        <p:grpSpPr>
          <a:xfrm>
            <a:off x="3810000" y="5931502"/>
            <a:ext cx="183356" cy="186929"/>
            <a:chOff x="4191000" y="3876277"/>
            <a:chExt cx="183356" cy="186929"/>
          </a:xfrm>
        </p:grpSpPr>
        <p:sp>
          <p:nvSpPr>
            <p:cNvPr id="21" name="Rectangle 20"/>
            <p:cNvSpPr/>
            <p:nvPr userDrawn="1"/>
          </p:nvSpPr>
          <p:spPr bwMode="auto">
            <a:xfrm>
              <a:off x="4191000" y="3970337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>
              <a:off x="4281487" y="3876277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23" name="Rectangle 22"/>
          <p:cNvSpPr/>
          <p:nvPr userDrawn="1"/>
        </p:nvSpPr>
        <p:spPr bwMode="auto">
          <a:xfrm>
            <a:off x="8686800" y="1752600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4" name="Rectangle 23"/>
          <p:cNvSpPr/>
          <p:nvPr userDrawn="1"/>
        </p:nvSpPr>
        <p:spPr bwMode="auto">
          <a:xfrm>
            <a:off x="9440444" y="6209864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269956" y="5201670"/>
            <a:ext cx="183356" cy="186929"/>
            <a:chOff x="4622005" y="3393281"/>
            <a:chExt cx="183356" cy="186929"/>
          </a:xfrm>
        </p:grpSpPr>
        <p:sp>
          <p:nvSpPr>
            <p:cNvPr id="26" name="Rectangle 25"/>
            <p:cNvSpPr/>
            <p:nvPr userDrawn="1"/>
          </p:nvSpPr>
          <p:spPr bwMode="auto">
            <a:xfrm>
              <a:off x="4622005" y="3487341"/>
              <a:ext cx="92869" cy="92869"/>
            </a:xfrm>
            <a:prstGeom prst="rect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auto">
            <a:xfrm>
              <a:off x="4712492" y="3393281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9486878" y="3025376"/>
            <a:ext cx="183356" cy="186929"/>
            <a:chOff x="3948113" y="3393281"/>
            <a:chExt cx="183356" cy="186929"/>
          </a:xfrm>
        </p:grpSpPr>
        <p:sp>
          <p:nvSpPr>
            <p:cNvPr id="29" name="Rectangle 28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31" name="Rectangle 30"/>
          <p:cNvSpPr/>
          <p:nvPr userDrawn="1"/>
        </p:nvSpPr>
        <p:spPr bwMode="auto">
          <a:xfrm>
            <a:off x="9346861" y="4196384"/>
            <a:ext cx="92869" cy="9286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8382000" y="3165871"/>
            <a:ext cx="183356" cy="186929"/>
            <a:chOff x="5548313" y="3134916"/>
            <a:chExt cx="183356" cy="186929"/>
          </a:xfrm>
        </p:grpSpPr>
        <p:sp>
          <p:nvSpPr>
            <p:cNvPr id="33" name="Rectangle 32"/>
            <p:cNvSpPr/>
            <p:nvPr userDrawn="1"/>
          </p:nvSpPr>
          <p:spPr bwMode="auto">
            <a:xfrm>
              <a:off x="5548313" y="3228976"/>
              <a:ext cx="92869" cy="9286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4" name="Rectangle 33"/>
            <p:cNvSpPr/>
            <p:nvPr userDrawn="1"/>
          </p:nvSpPr>
          <p:spPr bwMode="auto">
            <a:xfrm>
              <a:off x="5638800" y="3134916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cxnSp>
        <p:nvCxnSpPr>
          <p:cNvPr id="35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68" descr="D:\Users\bkp\My Work\GSLs\TEMPLATES\I&amp;D\FINAL\04-17\Pyramid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5800" y="5222873"/>
            <a:ext cx="879232" cy="80209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contenu 5"/>
          <p:cNvSpPr>
            <a:spLocks noGrp="1"/>
          </p:cNvSpPr>
          <p:nvPr userDrawn="1">
            <p:ph sz="quarter" idx="10"/>
            <p:custDataLst>
              <p:tags r:id="rId5"/>
            </p:custDataLst>
          </p:nvPr>
        </p:nvSpPr>
        <p:spPr>
          <a:xfrm>
            <a:off x="341313" y="1255713"/>
            <a:ext cx="8896350" cy="3196515"/>
          </a:xfrm>
        </p:spPr>
        <p:txBody>
          <a:bodyPr lIns="91440"/>
          <a:lstStyle>
            <a:lvl1pPr marL="2286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 marL="4572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6858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2535039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843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255713"/>
            <a:ext cx="9223375" cy="5011737"/>
          </a:xfrm>
        </p:spPr>
        <p:txBody>
          <a:bodyPr/>
          <a:lstStyle>
            <a:lvl1pPr>
              <a:defRPr b="0"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67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828800"/>
            <a:ext cx="9223376" cy="4438649"/>
          </a:xfrm>
        </p:spPr>
        <p:txBody>
          <a:bodyPr/>
          <a:lstStyle>
            <a:lvl1pPr>
              <a:defRPr b="0"/>
            </a:lvl1pPr>
            <a:lvl2pPr marL="457200" indent="-223838">
              <a:defRPr/>
            </a:lvl2pPr>
            <a:lvl3pPr>
              <a:defRPr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341313" y="1255713"/>
            <a:ext cx="9223376" cy="548640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E47E1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96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255713"/>
            <a:ext cx="4487862" cy="4993230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255713"/>
            <a:ext cx="4487863" cy="5011737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93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828800"/>
            <a:ext cx="4487862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828800"/>
            <a:ext cx="4487863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41313" y="1255713"/>
            <a:ext cx="4487862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76825" y="1255713"/>
            <a:ext cx="4487863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913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hyperlink" Target="http://www.linkedin.com/company/capgemini" TargetMode="Externa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10.png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image" Target="../media/image8.png"/><Relationship Id="rId25" Type="http://schemas.openxmlformats.org/officeDocument/2006/relationships/image" Target="../media/image12.gif"/><Relationship Id="rId2" Type="http://schemas.openxmlformats.org/officeDocument/2006/relationships/slideLayout" Target="../slideLayouts/slideLayout14.xml"/><Relationship Id="rId16" Type="http://schemas.openxmlformats.org/officeDocument/2006/relationships/hyperlink" Target="http://www.facebook.com/Capgemini" TargetMode="External"/><Relationship Id="rId20" Type="http://schemas.openxmlformats.org/officeDocument/2006/relationships/hyperlink" Target="http://www.twitter.com/capgemini" TargetMode="Externa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hyperlink" Target="http://www.slideshare.net/capgemini" TargetMode="External"/><Relationship Id="rId5" Type="http://schemas.openxmlformats.org/officeDocument/2006/relationships/vmlDrawing" Target="../drawings/vmlDrawing12.vml"/><Relationship Id="rId15" Type="http://schemas.openxmlformats.org/officeDocument/2006/relationships/hyperlink" Target="http://www.capgemini.com/" TargetMode="External"/><Relationship Id="rId23" Type="http://schemas.openxmlformats.org/officeDocument/2006/relationships/image" Target="../media/image11.png"/><Relationship Id="rId10" Type="http://schemas.openxmlformats.org/officeDocument/2006/relationships/tags" Target="../tags/tag40.xml"/><Relationship Id="rId19" Type="http://schemas.openxmlformats.org/officeDocument/2006/relationships/image" Target="../media/image9.png"/><Relationship Id="rId4" Type="http://schemas.openxmlformats.org/officeDocument/2006/relationships/theme" Target="../theme/theme2.xml"/><Relationship Id="rId9" Type="http://schemas.openxmlformats.org/officeDocument/2006/relationships/tags" Target="../tags/tag39.xml"/><Relationship Id="rId14" Type="http://schemas.openxmlformats.org/officeDocument/2006/relationships/oleObject" Target="../embeddings/oleObject12.bin"/><Relationship Id="rId22" Type="http://schemas.openxmlformats.org/officeDocument/2006/relationships/hyperlink" Target="http://www.youtube.com/capgemini" TargetMode="External"/><Relationship Id="rId27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oleObject" Target="../embeddings/oleObject16.bin"/><Relationship Id="rId5" Type="http://schemas.openxmlformats.org/officeDocument/2006/relationships/vmlDrawing" Target="../drawings/vmlDrawing16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155" name="think-cell Slide" r:id="rId22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1" y="1"/>
            <a:ext cx="9905999" cy="80192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341313" y="1255714"/>
            <a:ext cx="9223375" cy="5011736"/>
          </a:xfrm>
          <a:prstGeom prst="rect">
            <a:avLst/>
          </a:prstGeom>
        </p:spPr>
        <p:txBody>
          <a:bodyPr vert="horz" lIns="0" tIns="33059" rIns="33059" bIns="33059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7"/>
            </p:custDataLst>
          </p:nvPr>
        </p:nvSpPr>
        <p:spPr>
          <a:xfrm>
            <a:off x="9552262" y="6646303"/>
            <a:ext cx="141065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900" smtClean="0">
                <a:solidFill>
                  <a:schemeClr val="tx2"/>
                </a:solidFill>
              </a:rPr>
              <a:pPr algn="ct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2" y="437863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546850" y="6623403"/>
            <a:ext cx="285562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</a:t>
            </a:r>
            <a:r>
              <a:rPr lang="en-US" altLang="en-US" sz="700" b="0" i="0" noProof="0" dirty="0" err="1" smtClean="0">
                <a:solidFill>
                  <a:schemeClr val="tx2"/>
                </a:solidFill>
                <a:latin typeface="+mj-lt"/>
                <a:cs typeface="Helvetica Light"/>
              </a:rPr>
              <a:t>Capgemini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20"/>
            </p:custDataLst>
          </p:nvPr>
        </p:nvSpPr>
        <p:spPr>
          <a:xfrm>
            <a:off x="6350000" y="6427222"/>
            <a:ext cx="3200400" cy="182880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800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BIG-04_Cloudera </a:t>
            </a:r>
            <a:r>
              <a:rPr lang="en-US" sz="800" dirty="0" err="1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Hadoop</a:t>
            </a:r>
            <a:r>
              <a:rPr lang="en-US" sz="800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 Developer_Slides-Module01_V 1 0</a:t>
            </a:r>
          </a:p>
        </p:txBody>
      </p:sp>
      <p:cxnSp>
        <p:nvCxnSpPr>
          <p:cNvPr id="14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" y="6456451"/>
            <a:ext cx="1362456" cy="31575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0" r:id="rId2"/>
    <p:sldLayoutId id="2147483991" r:id="rId3"/>
    <p:sldLayoutId id="2147483997" r:id="rId4"/>
    <p:sldLayoutId id="2147483965" r:id="rId5"/>
    <p:sldLayoutId id="2147483966" r:id="rId6"/>
    <p:sldLayoutId id="2147483962" r:id="rId7"/>
    <p:sldLayoutId id="2147483963" r:id="rId8"/>
    <p:sldLayoutId id="2147483964" r:id="rId9"/>
    <p:sldLayoutId id="2147483934" r:id="rId10"/>
    <p:sldLayoutId id="2147484001" r:id="rId11"/>
    <p:sldLayoutId id="2147484002" r:id="rId12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2800" b="0" kern="1200">
          <a:solidFill>
            <a:schemeClr val="tx1"/>
          </a:solidFill>
          <a:latin typeface="Arial Narrow" pitchFamily="34" charset="0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sz="20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8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–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marR="0" indent="-228600" algn="l" defTabSz="9143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Tx/>
        <a:buFont typeface="Courier New" pitchFamily="49" charset="0"/>
        <a:buChar char="o"/>
        <a:tabLst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0809" name="think-cell Slide" r:id="rId14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0" y="1685925"/>
            <a:ext cx="9906000" cy="51720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132036 w 10564614"/>
              <a:gd name="connsiteY6" fmla="*/ 20806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363945 w 10564614"/>
              <a:gd name="connsiteY5" fmla="*/ 427792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646636 w 10564614"/>
              <a:gd name="connsiteY6" fmla="*/ 39532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349559 w 10564614"/>
              <a:gd name="connsiteY0" fmla="*/ 166453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3360"/>
              <a:gd name="connsiteY0" fmla="*/ 0 h 5657661"/>
              <a:gd name="connsiteX1" fmla="*/ 10563360 w 10563360"/>
              <a:gd name="connsiteY1" fmla="*/ 5657661 h 5657661"/>
              <a:gd name="connsiteX2" fmla="*/ 9024770 w 10563360"/>
              <a:gd name="connsiteY2" fmla="*/ 4808920 h 5657661"/>
              <a:gd name="connsiteX3" fmla="*/ 2295231 w 10563360"/>
              <a:gd name="connsiteY3" fmla="*/ 4794064 h 5657661"/>
              <a:gd name="connsiteX4" fmla="*/ 1200559 w 10563360"/>
              <a:gd name="connsiteY4" fmla="*/ 4072264 h 5657661"/>
              <a:gd name="connsiteX5" fmla="*/ 0 w 10563360"/>
              <a:gd name="connsiteY5" fmla="*/ 4795927 h 5657661"/>
              <a:gd name="connsiteX6" fmla="*/ 0 w 10563360"/>
              <a:gd name="connsiteY6" fmla="*/ 0 h 5657661"/>
              <a:gd name="connsiteX0" fmla="*/ 10562847 w 10562847"/>
              <a:gd name="connsiteY0" fmla="*/ 0 h 5064672"/>
              <a:gd name="connsiteX1" fmla="*/ 10198903 w 10562847"/>
              <a:gd name="connsiteY1" fmla="*/ 5064672 h 5064672"/>
              <a:gd name="connsiteX2" fmla="*/ 9024770 w 10562847"/>
              <a:gd name="connsiteY2" fmla="*/ 4808920 h 5064672"/>
              <a:gd name="connsiteX3" fmla="*/ 2295231 w 10562847"/>
              <a:gd name="connsiteY3" fmla="*/ 4794064 h 5064672"/>
              <a:gd name="connsiteX4" fmla="*/ 1200559 w 10562847"/>
              <a:gd name="connsiteY4" fmla="*/ 4072264 h 5064672"/>
              <a:gd name="connsiteX5" fmla="*/ 0 w 10562847"/>
              <a:gd name="connsiteY5" fmla="*/ 4795927 h 5064672"/>
              <a:gd name="connsiteX6" fmla="*/ 0 w 10562847"/>
              <a:gd name="connsiteY6" fmla="*/ 0 h 5064672"/>
              <a:gd name="connsiteX0" fmla="*/ 10562847 w 10562847"/>
              <a:gd name="connsiteY0" fmla="*/ 0 h 5648998"/>
              <a:gd name="connsiteX1" fmla="*/ 10562847 w 10562847"/>
              <a:gd name="connsiteY1" fmla="*/ 5648998 h 5648998"/>
              <a:gd name="connsiteX2" fmla="*/ 9024770 w 10562847"/>
              <a:gd name="connsiteY2" fmla="*/ 4808920 h 5648998"/>
              <a:gd name="connsiteX3" fmla="*/ 2295231 w 10562847"/>
              <a:gd name="connsiteY3" fmla="*/ 4794064 h 5648998"/>
              <a:gd name="connsiteX4" fmla="*/ 1200559 w 10562847"/>
              <a:gd name="connsiteY4" fmla="*/ 4072264 h 5648998"/>
              <a:gd name="connsiteX5" fmla="*/ 0 w 10562847"/>
              <a:gd name="connsiteY5" fmla="*/ 4795927 h 5648998"/>
              <a:gd name="connsiteX6" fmla="*/ 0 w 10562847"/>
              <a:gd name="connsiteY6" fmla="*/ 0 h 5648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7" h="5648998">
                <a:moveTo>
                  <a:pt x="10562847" y="0"/>
                </a:moveTo>
                <a:lnTo>
                  <a:pt x="10562847" y="5648998"/>
                </a:lnTo>
                <a:cubicBezTo>
                  <a:pt x="10190428" y="4911661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8640" y="4795049"/>
                  <a:pt x="0" y="4795927"/>
                </a:cubicBezTo>
                <a:lnTo>
                  <a:pt x="0" y="0"/>
                </a:lnTo>
              </a:path>
            </a:pathLst>
          </a:custGeom>
          <a:gradFill>
            <a:gsLst>
              <a:gs pos="0">
                <a:schemeClr val="tx1"/>
              </a:gs>
              <a:gs pos="100000">
                <a:schemeClr val="accent2"/>
              </a:gs>
              <a:gs pos="100000">
                <a:schemeClr val="accent5"/>
              </a:gs>
            </a:gsLst>
            <a:lin ang="18900000" scaled="1"/>
          </a:gra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2" name="Rectangle 21"/>
          <p:cNvSpPr/>
          <p:nvPr>
            <p:custDataLst>
              <p:tags r:id="rId7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  <a:b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Copyright © 2015 Capgemini.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Rightshore</a:t>
            </a:r>
            <a:r>
              <a:rPr lang="en-US" sz="700" baseline="30000" dirty="0" smtClean="0">
                <a:solidFill>
                  <a:schemeClr val="bg1"/>
                </a:solidFill>
                <a:latin typeface="Arial"/>
                <a:cs typeface="Arial"/>
              </a:rPr>
              <a:t>®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 is a trademark belonging to </a:t>
            </a: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.</a:t>
            </a:r>
          </a:p>
        </p:txBody>
      </p:sp>
      <p:sp>
        <p:nvSpPr>
          <p:cNvPr id="23" name="Rectangle 22">
            <a:hlinkClick r:id="rId15"/>
          </p:cNvPr>
          <p:cNvSpPr/>
          <p:nvPr>
            <p:custDataLst>
              <p:tags r:id="rId8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24" name="Picture 3" descr="C:\Users\UserSim\Desktop\DS_icons\128x128 shadows\facebook.png">
            <a:hlinkClick r:id="rId16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25" name="Picture 4" descr="C:\Users\UserSim\Desktop\DS_icons\128x128 shadows\linkedin.png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26" name="Picture 5" descr="C:\Users\UserSim\Desktop\DS_icons\128x128 shadows\twitter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27" name="Picture 6" descr="C:\Users\UserSim\Desktop\DS_icons\128x128 shadows\youtube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8" name="Image 22" descr="Picto_Slideshare.gif">
            <a:hlinkClick r:id="rId24"/>
          </p:cNvPr>
          <p:cNvPicPr preferRelativeResize="0">
            <a:picLocks/>
          </p:cNvPicPr>
          <p:nvPr>
            <p:custDataLst>
              <p:tags r:id="rId13"/>
            </p:custDataLst>
          </p:nvPr>
        </p:nvPicPr>
        <p:blipFill>
          <a:blip r:embed="rId25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261139" name="Picture 19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50" y="844452"/>
            <a:ext cx="3154680" cy="731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1140" name="Picture 20" descr="D:\Users\bkp\My Work\TEMPLATES\LOGO Library\Capgemini_Logo_Set\Slogan_PMRC_cmyk_Capgemini.pn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7543" y="1106840"/>
            <a:ext cx="3154680" cy="25876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573929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96" name="think-cell Slide" r:id="rId6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3992" r:id="rId2"/>
    <p:sldLayoutId id="2147483980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1.v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7966" name="think-cell Slide" r:id="rId6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04800" y="4648200"/>
            <a:ext cx="4727575" cy="724977"/>
          </a:xfrm>
        </p:spPr>
        <p:txBody>
          <a:bodyPr/>
          <a:lstStyle/>
          <a:p>
            <a:r>
              <a:rPr lang="en-US" sz="2400" b="1" dirty="0" smtClean="0"/>
              <a:t>Learning &amp; Development </a:t>
            </a:r>
            <a:br>
              <a:rPr lang="en-US" sz="2400" b="1" dirty="0" smtClean="0"/>
            </a:br>
            <a:r>
              <a:rPr lang="en-US" sz="1600" i="1" kern="1100" dirty="0">
                <a:solidFill>
                  <a:schemeClr val="accent1">
                    <a:lumMod val="50000"/>
                  </a:schemeClr>
                </a:solidFill>
              </a:rPr>
              <a:t>Enabling development, Impacting growth</a:t>
            </a:r>
            <a:r>
              <a:rPr lang="en-US" sz="1600" i="1" kern="1100" dirty="0" smtClean="0">
                <a:solidFill>
                  <a:schemeClr val="accent1">
                    <a:lumMod val="50000"/>
                  </a:schemeClr>
                </a:solidFill>
              </a:rPr>
              <a:t>…</a:t>
            </a:r>
            <a:endParaRPr lang="en-US" sz="2400" b="1" i="1" dirty="0"/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11149" y="5791200"/>
            <a:ext cx="5861051" cy="381000"/>
          </a:xfrm>
        </p:spPr>
        <p:txBody>
          <a:bodyPr/>
          <a:lstStyle/>
          <a:p>
            <a:r>
              <a:rPr lang="fr-FR" sz="2400" b="1" dirty="0" smtClean="0"/>
              <a:t>Apache Spark</a:t>
            </a:r>
          </a:p>
        </p:txBody>
      </p:sp>
    </p:spTree>
    <p:extLst>
      <p:ext uri="{BB962C8B-B14F-4D97-AF65-F5344CB8AC3E}">
        <p14:creationId xmlns="" xmlns:p14="http://schemas.microsoft.com/office/powerpoint/2010/main" val="381714630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type="body" sz="quarter" idx="4294967295"/>
          </p:nvPr>
        </p:nvSpPr>
        <p:spPr>
          <a:xfrm>
            <a:off x="533400" y="1447800"/>
            <a:ext cx="9372600" cy="6858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909638" indent="-452438" defTabSz="966788">
              <a:defRPr/>
            </a:pPr>
            <a:r>
              <a:rPr lang="en-US" dirty="0" smtClean="0">
                <a:solidFill>
                  <a:schemeClr val="tx1"/>
                </a:solidFill>
              </a:rPr>
              <a:t>R</a:t>
            </a:r>
            <a:r>
              <a:rPr lang="en-US" dirty="0" smtClean="0"/>
              <a:t>un </a:t>
            </a:r>
            <a:r>
              <a:rPr lang="en-US" dirty="0"/>
              <a:t>a streaming computation as a </a:t>
            </a:r>
            <a:r>
              <a:rPr lang="en-US" dirty="0">
                <a:solidFill>
                  <a:schemeClr val="accent1"/>
                </a:solidFill>
              </a:rPr>
              <a:t>series of very small, deterministic </a:t>
            </a:r>
            <a:r>
              <a:rPr lang="en-US" dirty="0" smtClean="0">
                <a:solidFill>
                  <a:schemeClr val="accent1"/>
                </a:solidFill>
              </a:rPr>
              <a:t>   batch </a:t>
            </a:r>
            <a:r>
              <a:rPr lang="en-US" dirty="0">
                <a:solidFill>
                  <a:schemeClr val="accent1"/>
                </a:solidFill>
              </a:rPr>
              <a:t>jobs</a:t>
            </a:r>
          </a:p>
        </p:txBody>
      </p:sp>
      <p:sp>
        <p:nvSpPr>
          <p:cNvPr id="5" name="Right Arrow 4"/>
          <p:cNvSpPr/>
          <p:nvPr/>
        </p:nvSpPr>
        <p:spPr>
          <a:xfrm>
            <a:off x="6400800" y="2934084"/>
            <a:ext cx="1561505" cy="280494"/>
          </a:xfrm>
          <a:prstGeom prst="rightArrow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38405" tIns="19202" rIns="38405" bIns="19202"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  <a:latin typeface="Calibri"/>
              <a:ea typeface="ヒラギノ角ゴ ProN W3"/>
              <a:cs typeface="ヒラギノ角ゴ ProN W3"/>
            </a:endParaRPr>
          </a:p>
        </p:txBody>
      </p:sp>
      <p:grpSp>
        <p:nvGrpSpPr>
          <p:cNvPr id="7" name="Group 6"/>
          <p:cNvGrpSpPr>
            <a:grpSpLocks/>
          </p:cNvGrpSpPr>
          <p:nvPr/>
        </p:nvGrpSpPr>
        <p:grpSpPr bwMode="auto">
          <a:xfrm>
            <a:off x="6404372" y="2922971"/>
            <a:ext cx="1557338" cy="280494"/>
            <a:chOff x="3510080" y="4511951"/>
            <a:chExt cx="1875743" cy="322227"/>
          </a:xfrm>
        </p:grpSpPr>
        <p:sp>
          <p:nvSpPr>
            <p:cNvPr id="8" name="Right Arrow 7"/>
            <p:cNvSpPr/>
            <p:nvPr/>
          </p:nvSpPr>
          <p:spPr>
            <a:xfrm>
              <a:off x="5123391" y="4511951"/>
              <a:ext cx="262432" cy="322227"/>
            </a:xfrm>
            <a:prstGeom prst="rightArrow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ヒラギノ角ゴ ProN W3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4042831" y="4599904"/>
              <a:ext cx="397950" cy="155916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ヒラギノ角ゴ ProN W3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510080" y="4603102"/>
              <a:ext cx="397950" cy="155916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ヒラギノ角ゴ ProN W3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574148" y="4603102"/>
              <a:ext cx="397950" cy="155916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ヒラギノ角ゴ ProN W3"/>
              </a:endParaRPr>
            </a:p>
          </p:txBody>
        </p:sp>
      </p:grpSp>
      <p:sp>
        <p:nvSpPr>
          <p:cNvPr id="13" name="Rectangle 12"/>
          <p:cNvSpPr/>
          <p:nvPr/>
        </p:nvSpPr>
        <p:spPr>
          <a:xfrm>
            <a:off x="8086725" y="4602546"/>
            <a:ext cx="1259086" cy="746125"/>
          </a:xfrm>
          <a:prstGeom prst="rect">
            <a:avLst/>
          </a:prstGeom>
          <a:ln w="38100" cmpd="sng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8405" tIns="19202" rIns="38405" bIns="19202" anchor="ctr"/>
          <a:lstStyle/>
          <a:p>
            <a:pPr algn="ctr">
              <a:defRPr/>
            </a:pPr>
            <a:r>
              <a:rPr lang="en-US" sz="2000" b="1" kern="0" dirty="0">
                <a:solidFill>
                  <a:srgbClr val="B50B1B"/>
                </a:solidFill>
                <a:latin typeface="Calibri"/>
                <a:ea typeface="ヒラギノ角ゴ ProN W3"/>
                <a:cs typeface="Calibri"/>
              </a:rPr>
              <a:t>Spark</a:t>
            </a:r>
          </a:p>
        </p:txBody>
      </p:sp>
      <p:sp>
        <p:nvSpPr>
          <p:cNvPr id="14" name="Rectangle 13"/>
          <p:cNvSpPr/>
          <p:nvPr/>
        </p:nvSpPr>
        <p:spPr>
          <a:xfrm>
            <a:off x="8086725" y="2672940"/>
            <a:ext cx="1259086" cy="746125"/>
          </a:xfrm>
          <a:prstGeom prst="rect">
            <a:avLst/>
          </a:prstGeom>
          <a:ln w="38100" cmpd="sng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8405" tIns="19202" rIns="38405" bIns="19202" anchor="ctr"/>
          <a:lstStyle/>
          <a:p>
            <a:pPr algn="ctr">
              <a:defRPr/>
            </a:pPr>
            <a:r>
              <a:rPr lang="en-US" sz="2000" b="1" kern="0" dirty="0">
                <a:solidFill>
                  <a:srgbClr val="B50B1B"/>
                </a:solidFill>
                <a:latin typeface="Calibri"/>
                <a:ea typeface="ヒラギノ角ゴ ProN W3"/>
                <a:cs typeface="Calibri"/>
              </a:rPr>
              <a:t>Spark</a:t>
            </a:r>
          </a:p>
          <a:p>
            <a:pPr algn="ctr">
              <a:defRPr/>
            </a:pPr>
            <a:r>
              <a:rPr lang="en-US" sz="2000" b="1" kern="0" dirty="0">
                <a:solidFill>
                  <a:srgbClr val="B50B1B"/>
                </a:solidFill>
                <a:latin typeface="Calibri"/>
                <a:ea typeface="ヒラギノ角ゴ ProN W3"/>
                <a:cs typeface="Calibri"/>
              </a:rPr>
              <a:t>Streaming</a:t>
            </a:r>
          </a:p>
        </p:txBody>
      </p:sp>
      <p:grpSp>
        <p:nvGrpSpPr>
          <p:cNvPr id="15" name="Group 14"/>
          <p:cNvGrpSpPr>
            <a:grpSpLocks/>
          </p:cNvGrpSpPr>
          <p:nvPr/>
        </p:nvGrpSpPr>
        <p:grpSpPr bwMode="auto">
          <a:xfrm>
            <a:off x="8547497" y="3680210"/>
            <a:ext cx="330399" cy="671652"/>
            <a:chOff x="4377769" y="4618254"/>
            <a:chExt cx="398080" cy="771144"/>
          </a:xfrm>
        </p:grpSpPr>
        <p:sp>
          <p:nvSpPr>
            <p:cNvPr id="16" name="Rectangle 15"/>
            <p:cNvSpPr/>
            <p:nvPr/>
          </p:nvSpPr>
          <p:spPr>
            <a:xfrm>
              <a:off x="4377769" y="4618254"/>
              <a:ext cx="398080" cy="155827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Calibri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377769" y="4925913"/>
              <a:ext cx="398080" cy="155827"/>
            </a:xfrm>
            <a:prstGeom prst="rect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Calibri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377769" y="5233571"/>
              <a:ext cx="398080" cy="155827"/>
            </a:xfrm>
            <a:prstGeom prst="rect">
              <a:avLst/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Calibri"/>
              </a:endParaRPr>
            </a:p>
          </p:txBody>
        </p:sp>
      </p:grpSp>
      <p:grpSp>
        <p:nvGrpSpPr>
          <p:cNvPr id="19" name="Group 18"/>
          <p:cNvGrpSpPr>
            <a:grpSpLocks/>
          </p:cNvGrpSpPr>
          <p:nvPr/>
        </p:nvGrpSpPr>
        <p:grpSpPr bwMode="auto">
          <a:xfrm>
            <a:off x="6569571" y="3135256"/>
            <a:ext cx="883444" cy="1284344"/>
            <a:chOff x="1823092" y="3996166"/>
            <a:chExt cx="1064232" cy="1421766"/>
          </a:xfrm>
        </p:grpSpPr>
        <p:cxnSp>
          <p:nvCxnSpPr>
            <p:cNvPr id="20" name="Straight Arrow Connector 19"/>
            <p:cNvCxnSpPr>
              <a:stCxn id="23" idx="2"/>
              <a:endCxn id="11" idx="2"/>
            </p:cNvCxnSpPr>
            <p:nvPr/>
          </p:nvCxnSpPr>
          <p:spPr>
            <a:xfrm flipH="1" flipV="1">
              <a:off x="1823092" y="3999248"/>
              <a:ext cx="830087" cy="1418684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>
              <a:stCxn id="23" idx="2"/>
              <a:endCxn id="10" idx="2"/>
            </p:cNvCxnSpPr>
            <p:nvPr/>
          </p:nvCxnSpPr>
          <p:spPr>
            <a:xfrm flipH="1" flipV="1">
              <a:off x="2355925" y="3996166"/>
              <a:ext cx="297255" cy="1421766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>
              <a:stCxn id="23" idx="2"/>
              <a:endCxn id="12" idx="2"/>
            </p:cNvCxnSpPr>
            <p:nvPr/>
          </p:nvCxnSpPr>
          <p:spPr>
            <a:xfrm flipV="1">
              <a:off x="2653179" y="3999248"/>
              <a:ext cx="234145" cy="1418684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23" name="TextBox 22"/>
          <p:cNvSpPr txBox="1"/>
          <p:nvPr/>
        </p:nvSpPr>
        <p:spPr>
          <a:xfrm>
            <a:off x="6287691" y="3826823"/>
            <a:ext cx="1941909" cy="592777"/>
          </a:xfrm>
          <a:prstGeom prst="rect">
            <a:avLst/>
          </a:prstGeom>
          <a:solidFill>
            <a:sysClr val="window" lastClr="FFFFFF"/>
          </a:solidFill>
        </p:spPr>
        <p:txBody>
          <a:bodyPr lIns="38405" tIns="19202" rIns="38405" bIns="19202">
            <a:spAutoFit/>
          </a:bodyPr>
          <a:lstStyle/>
          <a:p>
            <a:pPr algn="ctr">
              <a:defRPr/>
            </a:pPr>
            <a:r>
              <a:rPr lang="en-US" kern="0" dirty="0">
                <a:solidFill>
                  <a:sysClr val="windowText" lastClr="000000"/>
                </a:solidFill>
                <a:latin typeface="Calibri"/>
                <a:ea typeface="ヒラギノ角ゴ ProN W3"/>
                <a:cs typeface="Calibri"/>
              </a:rPr>
              <a:t>batches of X second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172200" y="2567371"/>
            <a:ext cx="1752600" cy="331167"/>
          </a:xfrm>
          <a:prstGeom prst="rect">
            <a:avLst/>
          </a:prstGeom>
          <a:solidFill>
            <a:sysClr val="window" lastClr="FFFFFF"/>
          </a:solidFill>
        </p:spPr>
        <p:txBody>
          <a:bodyPr lIns="38405" tIns="19202" rIns="38405" bIns="19202">
            <a:spAutoFit/>
          </a:bodyPr>
          <a:lstStyle/>
          <a:p>
            <a:pPr algn="ctr"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Calibri"/>
                <a:ea typeface="ヒラギノ角ゴ ProN W3"/>
                <a:cs typeface="Calibri"/>
              </a:rPr>
              <a:t>Live </a:t>
            </a:r>
            <a:r>
              <a:rPr lang="en-US" kern="0" dirty="0">
                <a:solidFill>
                  <a:sysClr val="windowText" lastClr="000000"/>
                </a:solidFill>
                <a:latin typeface="Calibri"/>
                <a:ea typeface="ヒラギノ角ゴ ProN W3"/>
                <a:cs typeface="Calibri"/>
              </a:rPr>
              <a:t>data stream</a:t>
            </a:r>
          </a:p>
        </p:txBody>
      </p:sp>
      <p:grpSp>
        <p:nvGrpSpPr>
          <p:cNvPr id="25" name="Group 24"/>
          <p:cNvGrpSpPr>
            <a:grpSpLocks/>
          </p:cNvGrpSpPr>
          <p:nvPr/>
        </p:nvGrpSpPr>
        <p:grpSpPr bwMode="auto">
          <a:xfrm>
            <a:off x="6400800" y="4882739"/>
            <a:ext cx="1571625" cy="756061"/>
            <a:chOff x="15712706" y="10151158"/>
            <a:chExt cx="4191000" cy="1724814"/>
          </a:xfrm>
        </p:grpSpPr>
        <p:grpSp>
          <p:nvGrpSpPr>
            <p:cNvPr id="26" name="Group 65"/>
            <p:cNvGrpSpPr>
              <a:grpSpLocks/>
            </p:cNvGrpSpPr>
            <p:nvPr/>
          </p:nvGrpSpPr>
          <p:grpSpPr bwMode="auto">
            <a:xfrm>
              <a:off x="15712706" y="10151158"/>
              <a:ext cx="4081598" cy="640089"/>
              <a:chOff x="3519264" y="4541124"/>
              <a:chExt cx="1843853" cy="322227"/>
            </a:xfrm>
          </p:grpSpPr>
          <p:sp>
            <p:nvSpPr>
              <p:cNvPr id="28" name="Right Arrow 27"/>
              <p:cNvSpPr/>
              <p:nvPr/>
            </p:nvSpPr>
            <p:spPr>
              <a:xfrm rot="10800000">
                <a:off x="3519264" y="4541124"/>
                <a:ext cx="262477" cy="322128"/>
              </a:xfrm>
              <a:prstGeom prst="rightArrow">
                <a:avLst/>
              </a:prstGeom>
              <a:ln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sysClr val="window" lastClr="FFFFFF"/>
                  </a:solidFill>
                  <a:latin typeface="Calibri"/>
                  <a:ea typeface="ヒラギノ角ゴ ProN W3"/>
                  <a:cs typeface="Calibri"/>
                </a:endParaRP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4430044" y="4624254"/>
                <a:ext cx="398018" cy="155868"/>
              </a:xfrm>
              <a:prstGeom prst="rect">
                <a:avLst/>
              </a:prstGeom>
              <a:ln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sysClr val="window" lastClr="FFFFFF"/>
                  </a:solidFill>
                  <a:latin typeface="Calibri"/>
                  <a:ea typeface="ヒラギノ角ゴ ProN W3"/>
                  <a:cs typeface="Calibri"/>
                </a:endParaRPr>
              </a:p>
            </p:txBody>
          </p:sp>
          <p:sp>
            <p:nvSpPr>
              <p:cNvPr id="30" name="Rectangle 29"/>
              <p:cNvSpPr/>
              <p:nvPr/>
            </p:nvSpPr>
            <p:spPr>
              <a:xfrm>
                <a:off x="3897919" y="4624254"/>
                <a:ext cx="398018" cy="155868"/>
              </a:xfrm>
              <a:prstGeom prst="rect">
                <a:avLst/>
              </a:prstGeom>
              <a:ln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sysClr val="window" lastClr="FFFFFF"/>
                  </a:solidFill>
                  <a:latin typeface="Calibri"/>
                  <a:ea typeface="ヒラギノ角ゴ ProN W3"/>
                  <a:cs typeface="Calibri"/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4965038" y="4624254"/>
                <a:ext cx="398018" cy="155868"/>
              </a:xfrm>
              <a:prstGeom prst="rect">
                <a:avLst/>
              </a:prstGeom>
              <a:ln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sysClr val="window" lastClr="FFFFFF"/>
                  </a:solidFill>
                  <a:latin typeface="Calibri"/>
                  <a:ea typeface="ヒラギノ角ゴ ProN W3"/>
                  <a:cs typeface="Calibri"/>
                </a:endParaRPr>
              </a:p>
            </p:txBody>
          </p:sp>
        </p:grpSp>
        <p:sp>
          <p:nvSpPr>
            <p:cNvPr id="27" name="TextBox 26"/>
            <p:cNvSpPr txBox="1"/>
            <p:nvPr/>
          </p:nvSpPr>
          <p:spPr>
            <a:xfrm>
              <a:off x="15738106" y="10583046"/>
              <a:ext cx="4165600" cy="129292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kern="0" dirty="0">
                  <a:solidFill>
                    <a:sysClr val="windowText" lastClr="000000"/>
                  </a:solidFill>
                  <a:latin typeface="Calibri"/>
                  <a:ea typeface="ヒラギノ角ゴ ProN W3"/>
                  <a:cs typeface="Calibri"/>
                </a:rPr>
                <a:t>processed results</a:t>
              </a:r>
            </a:p>
          </p:txBody>
        </p:sp>
      </p:grpSp>
      <p:sp>
        <p:nvSpPr>
          <p:cNvPr id="32" name="Content Placeholder 2"/>
          <p:cNvSpPr txBox="1">
            <a:spLocks/>
          </p:cNvSpPr>
          <p:nvPr/>
        </p:nvSpPr>
        <p:spPr bwMode="auto">
          <a:xfrm>
            <a:off x="685800" y="2590800"/>
            <a:ext cx="5334000" cy="274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marL="774700" indent="-457200" algn="l" rtl="0" eaLnBrk="0" fontAlgn="base" hangingPunct="0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Wingdings" charset="0"/>
              <a:buChar char="§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1219200" indent="-457200" algn="l" rtl="0" eaLnBrk="0" fontAlgn="base" hangingPunct="0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2pPr>
            <a:lvl3pPr marL="1663700" indent="-457200" algn="l" rtl="0" eaLnBrk="0" fontAlgn="base" hangingPunct="0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3pPr>
            <a:lvl4pPr marL="2108200" indent="-457200" algn="l" rtl="0" eaLnBrk="0" fontAlgn="base" hangingPunct="0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4pPr>
            <a:lvl5pPr marL="2552700" indent="-457200" algn="l" rtl="0" eaLnBrk="0" fontAlgn="base" hangingPunct="0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5pPr>
            <a:lvl6pPr marL="3009900" indent="-457200" algn="l" rtl="0" fontAlgn="base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6pPr>
            <a:lvl7pPr marL="3467100" indent="-457200" algn="l" rtl="0" fontAlgn="base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7pPr>
            <a:lvl8pPr marL="3924300" indent="-457200" algn="l" rtl="0" fontAlgn="base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8pPr>
            <a:lvl9pPr marL="4381500" indent="-457200" algn="l" rtl="0" fontAlgn="base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9pPr>
          </a:lstStyle>
          <a:p>
            <a:pPr marL="911225" indent="-454025">
              <a:spcBef>
                <a:spcPts val="1512"/>
              </a:spcBef>
              <a:buClr>
                <a:schemeClr val="accent2"/>
              </a:buClr>
              <a:defRPr/>
            </a:pPr>
            <a:r>
              <a:rPr lang="en-US" sz="2000" dirty="0">
                <a:ea typeface="ヒラギノ角ゴ ProN W3"/>
                <a:cs typeface="Calibri"/>
              </a:rPr>
              <a:t>Chop up the live stream into batches of X seconds </a:t>
            </a:r>
            <a:endParaRPr lang="en-US" sz="2000" dirty="0" smtClean="0">
              <a:ea typeface="ヒラギノ角ゴ ProN W3"/>
              <a:cs typeface="Calibri"/>
            </a:endParaRPr>
          </a:p>
          <a:p>
            <a:pPr marL="911225" indent="-454025">
              <a:spcBef>
                <a:spcPts val="1512"/>
              </a:spcBef>
              <a:buClr>
                <a:schemeClr val="accent2"/>
              </a:buClr>
              <a:defRPr/>
            </a:pPr>
            <a:r>
              <a:rPr lang="en-US" sz="2000" dirty="0" smtClean="0">
                <a:ea typeface="ヒラギノ角ゴ ProN W3"/>
                <a:cs typeface="Calibri"/>
              </a:rPr>
              <a:t>Spark </a:t>
            </a:r>
            <a:r>
              <a:rPr lang="en-US" sz="2000" dirty="0">
                <a:ea typeface="ヒラギノ角ゴ ProN W3"/>
                <a:cs typeface="Calibri"/>
              </a:rPr>
              <a:t>treats each batch of data as RDDs and processes them using RDD </a:t>
            </a:r>
            <a:r>
              <a:rPr lang="en-US" sz="2000" dirty="0" smtClean="0">
                <a:ea typeface="ヒラギノ角ゴ ProN W3"/>
                <a:cs typeface="Calibri"/>
              </a:rPr>
              <a:t>operations</a:t>
            </a:r>
          </a:p>
          <a:p>
            <a:pPr marL="911225" indent="-454025">
              <a:spcBef>
                <a:spcPts val="1512"/>
              </a:spcBef>
              <a:buClr>
                <a:schemeClr val="accent2"/>
              </a:buClr>
              <a:defRPr/>
            </a:pPr>
            <a:r>
              <a:rPr lang="en-US" sz="2000" dirty="0" smtClean="0">
                <a:ea typeface="ヒラギノ角ゴ ProN W3"/>
                <a:cs typeface="Calibri"/>
              </a:rPr>
              <a:t>Finally</a:t>
            </a:r>
            <a:r>
              <a:rPr lang="en-US" sz="2000" dirty="0">
                <a:ea typeface="ヒラギノ角ゴ ProN W3"/>
                <a:cs typeface="Calibri"/>
              </a:rPr>
              <a:t>, the processed results of the RDD operations are returned in batches</a:t>
            </a:r>
          </a:p>
        </p:txBody>
      </p:sp>
      <p:sp>
        <p:nvSpPr>
          <p:cNvPr id="33" name="Title 3"/>
          <p:cNvSpPr>
            <a:spLocks noGrp="1"/>
          </p:cNvSpPr>
          <p:nvPr>
            <p:ph type="title"/>
          </p:nvPr>
        </p:nvSpPr>
        <p:spPr>
          <a:xfrm>
            <a:off x="374650" y="0"/>
            <a:ext cx="9531350" cy="79375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Spark </a:t>
            </a:r>
            <a:r>
              <a:rPr lang="en-US" b="1" dirty="0" err="1" smtClean="0">
                <a:latin typeface="+mj-lt"/>
              </a:rPr>
              <a:t>DStreams</a:t>
            </a:r>
            <a:endParaRPr lang="en-US" b="1" dirty="0"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13" grpId="0" animBg="1"/>
      <p:bldP spid="14" grpId="0" animBg="1"/>
      <p:bldP spid="23" grpId="0" animBg="1"/>
      <p:bldP spid="2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type="body" sz="quarter" idx="4294967295"/>
          </p:nvPr>
        </p:nvSpPr>
        <p:spPr>
          <a:xfrm>
            <a:off x="609600" y="1447800"/>
            <a:ext cx="9296400" cy="6858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61950" lvl="1" indent="0">
              <a:buFont typeface="Wingdings" pitchFamily="2" charset="2"/>
              <a:buChar char="§"/>
              <a:defRPr/>
            </a:pPr>
            <a:r>
              <a:rPr lang="en-US" dirty="0" smtClean="0"/>
              <a:t>	Run </a:t>
            </a:r>
            <a:r>
              <a:rPr lang="en-US" dirty="0" smtClean="0"/>
              <a:t>a streaming computation as a </a:t>
            </a:r>
            <a:r>
              <a:rPr lang="en-US" dirty="0" smtClean="0">
                <a:solidFill>
                  <a:schemeClr val="accent1"/>
                </a:solidFill>
              </a:rPr>
              <a:t>series of very small, deterministic batch jobs</a:t>
            </a:r>
            <a:endParaRPr lang="en-US" dirty="0">
              <a:solidFill>
                <a:schemeClr val="accent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404372" y="2922971"/>
            <a:ext cx="1557338" cy="280494"/>
            <a:chOff x="3510080" y="4511951"/>
            <a:chExt cx="1875743" cy="322227"/>
          </a:xfrm>
        </p:grpSpPr>
        <p:sp>
          <p:nvSpPr>
            <p:cNvPr id="8" name="Right Arrow 7"/>
            <p:cNvSpPr/>
            <p:nvPr/>
          </p:nvSpPr>
          <p:spPr>
            <a:xfrm>
              <a:off x="5123391" y="4511951"/>
              <a:ext cx="262432" cy="322227"/>
            </a:xfrm>
            <a:prstGeom prst="rightArrow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ヒラギノ角ゴ ProN W3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4042831" y="4599904"/>
              <a:ext cx="397950" cy="155916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ヒラギノ角ゴ ProN W3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510080" y="4603102"/>
              <a:ext cx="397950" cy="155916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ヒラギノ角ゴ ProN W3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574148" y="4603102"/>
              <a:ext cx="397950" cy="155916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ヒラギノ角ゴ ProN W3"/>
              </a:endParaRPr>
            </a:p>
          </p:txBody>
        </p:sp>
      </p:grpSp>
      <p:sp>
        <p:nvSpPr>
          <p:cNvPr id="13" name="Rectangle 12"/>
          <p:cNvSpPr/>
          <p:nvPr/>
        </p:nvSpPr>
        <p:spPr>
          <a:xfrm>
            <a:off x="8086725" y="4602546"/>
            <a:ext cx="1259086" cy="746125"/>
          </a:xfrm>
          <a:prstGeom prst="rect">
            <a:avLst/>
          </a:prstGeom>
          <a:ln w="38100" cmpd="sng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8405" tIns="19202" rIns="38405" bIns="19202" anchor="ctr"/>
          <a:lstStyle/>
          <a:p>
            <a:pPr algn="ctr">
              <a:defRPr/>
            </a:pPr>
            <a:r>
              <a:rPr lang="en-US" sz="2000" b="1" kern="0" dirty="0">
                <a:solidFill>
                  <a:srgbClr val="B50B1B"/>
                </a:solidFill>
                <a:latin typeface="Calibri"/>
                <a:ea typeface="ヒラギノ角ゴ ProN W3"/>
                <a:cs typeface="Calibri"/>
              </a:rPr>
              <a:t>Spark</a:t>
            </a:r>
          </a:p>
        </p:txBody>
      </p:sp>
      <p:sp>
        <p:nvSpPr>
          <p:cNvPr id="14" name="Rectangle 13"/>
          <p:cNvSpPr/>
          <p:nvPr/>
        </p:nvSpPr>
        <p:spPr>
          <a:xfrm>
            <a:off x="8086725" y="2672940"/>
            <a:ext cx="1259086" cy="746125"/>
          </a:xfrm>
          <a:prstGeom prst="rect">
            <a:avLst/>
          </a:prstGeom>
          <a:ln w="38100" cmpd="sng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8405" tIns="19202" rIns="38405" bIns="19202" anchor="ctr"/>
          <a:lstStyle/>
          <a:p>
            <a:pPr algn="ctr">
              <a:defRPr/>
            </a:pPr>
            <a:r>
              <a:rPr lang="en-US" sz="2000" b="1" kern="0" dirty="0">
                <a:solidFill>
                  <a:srgbClr val="B50B1B"/>
                </a:solidFill>
                <a:latin typeface="Calibri"/>
                <a:ea typeface="ヒラギノ角ゴ ProN W3"/>
                <a:cs typeface="Calibri"/>
              </a:rPr>
              <a:t>Spark</a:t>
            </a:r>
          </a:p>
          <a:p>
            <a:pPr algn="ctr">
              <a:defRPr/>
            </a:pPr>
            <a:r>
              <a:rPr lang="en-US" sz="2000" b="1" kern="0" dirty="0">
                <a:solidFill>
                  <a:srgbClr val="B50B1B"/>
                </a:solidFill>
                <a:latin typeface="Calibri"/>
                <a:ea typeface="ヒラギノ角ゴ ProN W3"/>
                <a:cs typeface="Calibri"/>
              </a:rPr>
              <a:t>Streaming</a:t>
            </a:r>
          </a:p>
        </p:txBody>
      </p:sp>
      <p:grpSp>
        <p:nvGrpSpPr>
          <p:cNvPr id="3" name="Group 14"/>
          <p:cNvGrpSpPr>
            <a:grpSpLocks/>
          </p:cNvGrpSpPr>
          <p:nvPr/>
        </p:nvGrpSpPr>
        <p:grpSpPr bwMode="auto">
          <a:xfrm>
            <a:off x="8547497" y="3680210"/>
            <a:ext cx="330399" cy="671652"/>
            <a:chOff x="4377769" y="4618254"/>
            <a:chExt cx="398080" cy="771144"/>
          </a:xfrm>
        </p:grpSpPr>
        <p:sp>
          <p:nvSpPr>
            <p:cNvPr id="16" name="Rectangle 15"/>
            <p:cNvSpPr/>
            <p:nvPr/>
          </p:nvSpPr>
          <p:spPr>
            <a:xfrm>
              <a:off x="4377769" y="4618254"/>
              <a:ext cx="398080" cy="155827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Calibri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377769" y="4925913"/>
              <a:ext cx="398080" cy="155827"/>
            </a:xfrm>
            <a:prstGeom prst="rect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Calibri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377769" y="5233571"/>
              <a:ext cx="398080" cy="155827"/>
            </a:xfrm>
            <a:prstGeom prst="rect">
              <a:avLst/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Calibri"/>
              </a:endParaRPr>
            </a:p>
          </p:txBody>
        </p:sp>
      </p:grpSp>
      <p:grpSp>
        <p:nvGrpSpPr>
          <p:cNvPr id="7" name="Group 18"/>
          <p:cNvGrpSpPr>
            <a:grpSpLocks/>
          </p:cNvGrpSpPr>
          <p:nvPr/>
        </p:nvGrpSpPr>
        <p:grpSpPr bwMode="auto">
          <a:xfrm>
            <a:off x="6569571" y="3135256"/>
            <a:ext cx="883444" cy="1284344"/>
            <a:chOff x="1823092" y="3996166"/>
            <a:chExt cx="1064232" cy="1421766"/>
          </a:xfrm>
        </p:grpSpPr>
        <p:cxnSp>
          <p:nvCxnSpPr>
            <p:cNvPr id="20" name="Straight Arrow Connector 19"/>
            <p:cNvCxnSpPr>
              <a:stCxn id="23" idx="2"/>
              <a:endCxn id="11" idx="2"/>
            </p:cNvCxnSpPr>
            <p:nvPr/>
          </p:nvCxnSpPr>
          <p:spPr>
            <a:xfrm flipH="1" flipV="1">
              <a:off x="1823092" y="3999248"/>
              <a:ext cx="830087" cy="1418684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>
              <a:stCxn id="23" idx="2"/>
              <a:endCxn id="10" idx="2"/>
            </p:cNvCxnSpPr>
            <p:nvPr/>
          </p:nvCxnSpPr>
          <p:spPr>
            <a:xfrm flipH="1" flipV="1">
              <a:off x="2355925" y="3996166"/>
              <a:ext cx="297255" cy="1421766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>
              <a:stCxn id="23" idx="2"/>
              <a:endCxn id="12" idx="2"/>
            </p:cNvCxnSpPr>
            <p:nvPr/>
          </p:nvCxnSpPr>
          <p:spPr>
            <a:xfrm flipV="1">
              <a:off x="2653179" y="3999248"/>
              <a:ext cx="234145" cy="1418684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23" name="TextBox 22"/>
          <p:cNvSpPr txBox="1"/>
          <p:nvPr/>
        </p:nvSpPr>
        <p:spPr>
          <a:xfrm>
            <a:off x="6287691" y="3826823"/>
            <a:ext cx="1941909" cy="592777"/>
          </a:xfrm>
          <a:prstGeom prst="rect">
            <a:avLst/>
          </a:prstGeom>
          <a:solidFill>
            <a:sysClr val="window" lastClr="FFFFFF"/>
          </a:solidFill>
        </p:spPr>
        <p:txBody>
          <a:bodyPr lIns="38405" tIns="19202" rIns="38405" bIns="19202">
            <a:spAutoFit/>
          </a:bodyPr>
          <a:lstStyle/>
          <a:p>
            <a:pPr algn="ctr">
              <a:defRPr/>
            </a:pPr>
            <a:r>
              <a:rPr lang="en-US" kern="0" dirty="0">
                <a:solidFill>
                  <a:sysClr val="windowText" lastClr="000000"/>
                </a:solidFill>
                <a:latin typeface="Calibri"/>
                <a:ea typeface="ヒラギノ角ゴ ProN W3"/>
                <a:cs typeface="Calibri"/>
              </a:rPr>
              <a:t>batches of X second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172200" y="2567371"/>
            <a:ext cx="1752600" cy="331167"/>
          </a:xfrm>
          <a:prstGeom prst="rect">
            <a:avLst/>
          </a:prstGeom>
          <a:solidFill>
            <a:sysClr val="window" lastClr="FFFFFF"/>
          </a:solidFill>
        </p:spPr>
        <p:txBody>
          <a:bodyPr lIns="38405" tIns="19202" rIns="38405" bIns="19202">
            <a:spAutoFit/>
          </a:bodyPr>
          <a:lstStyle/>
          <a:p>
            <a:pPr algn="ctr"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Calibri"/>
                <a:ea typeface="ヒラギノ角ゴ ProN W3"/>
                <a:cs typeface="Calibri"/>
              </a:rPr>
              <a:t>Live </a:t>
            </a:r>
            <a:r>
              <a:rPr lang="en-US" kern="0" dirty="0">
                <a:solidFill>
                  <a:sysClr val="windowText" lastClr="000000"/>
                </a:solidFill>
                <a:latin typeface="Calibri"/>
                <a:ea typeface="ヒラギノ角ゴ ProN W3"/>
                <a:cs typeface="Calibri"/>
              </a:rPr>
              <a:t>data stream</a:t>
            </a:r>
          </a:p>
        </p:txBody>
      </p:sp>
      <p:grpSp>
        <p:nvGrpSpPr>
          <p:cNvPr id="15" name="Group 24"/>
          <p:cNvGrpSpPr>
            <a:grpSpLocks/>
          </p:cNvGrpSpPr>
          <p:nvPr/>
        </p:nvGrpSpPr>
        <p:grpSpPr bwMode="auto">
          <a:xfrm>
            <a:off x="6400800" y="4882739"/>
            <a:ext cx="1571625" cy="756061"/>
            <a:chOff x="15712706" y="10151158"/>
            <a:chExt cx="4191000" cy="1724814"/>
          </a:xfrm>
        </p:grpSpPr>
        <p:grpSp>
          <p:nvGrpSpPr>
            <p:cNvPr id="19" name="Group 65"/>
            <p:cNvGrpSpPr>
              <a:grpSpLocks/>
            </p:cNvGrpSpPr>
            <p:nvPr/>
          </p:nvGrpSpPr>
          <p:grpSpPr bwMode="auto">
            <a:xfrm>
              <a:off x="15712706" y="10151158"/>
              <a:ext cx="4081598" cy="640089"/>
              <a:chOff x="3519264" y="4541124"/>
              <a:chExt cx="1843853" cy="322227"/>
            </a:xfrm>
          </p:grpSpPr>
          <p:sp>
            <p:nvSpPr>
              <p:cNvPr id="28" name="Right Arrow 27"/>
              <p:cNvSpPr/>
              <p:nvPr/>
            </p:nvSpPr>
            <p:spPr>
              <a:xfrm rot="10800000">
                <a:off x="3519264" y="4541124"/>
                <a:ext cx="262477" cy="322128"/>
              </a:xfrm>
              <a:prstGeom prst="rightArrow">
                <a:avLst/>
              </a:prstGeom>
              <a:ln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sysClr val="window" lastClr="FFFFFF"/>
                  </a:solidFill>
                  <a:latin typeface="Calibri"/>
                  <a:ea typeface="ヒラギノ角ゴ ProN W3"/>
                  <a:cs typeface="Calibri"/>
                </a:endParaRP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4430044" y="4624254"/>
                <a:ext cx="398018" cy="155868"/>
              </a:xfrm>
              <a:prstGeom prst="rect">
                <a:avLst/>
              </a:prstGeom>
              <a:ln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sysClr val="window" lastClr="FFFFFF"/>
                  </a:solidFill>
                  <a:latin typeface="Calibri"/>
                  <a:ea typeface="ヒラギノ角ゴ ProN W3"/>
                  <a:cs typeface="Calibri"/>
                </a:endParaRPr>
              </a:p>
            </p:txBody>
          </p:sp>
          <p:sp>
            <p:nvSpPr>
              <p:cNvPr id="30" name="Rectangle 29"/>
              <p:cNvSpPr/>
              <p:nvPr/>
            </p:nvSpPr>
            <p:spPr>
              <a:xfrm>
                <a:off x="3897919" y="4624254"/>
                <a:ext cx="398018" cy="155868"/>
              </a:xfrm>
              <a:prstGeom prst="rect">
                <a:avLst/>
              </a:prstGeom>
              <a:ln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sysClr val="window" lastClr="FFFFFF"/>
                  </a:solidFill>
                  <a:latin typeface="Calibri"/>
                  <a:ea typeface="ヒラギノ角ゴ ProN W3"/>
                  <a:cs typeface="Calibri"/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4965038" y="4624254"/>
                <a:ext cx="398018" cy="155868"/>
              </a:xfrm>
              <a:prstGeom prst="rect">
                <a:avLst/>
              </a:prstGeom>
              <a:ln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sysClr val="window" lastClr="FFFFFF"/>
                  </a:solidFill>
                  <a:latin typeface="Calibri"/>
                  <a:ea typeface="ヒラギノ角ゴ ProN W3"/>
                  <a:cs typeface="Calibri"/>
                </a:endParaRPr>
              </a:p>
            </p:txBody>
          </p:sp>
        </p:grpSp>
        <p:sp>
          <p:nvSpPr>
            <p:cNvPr id="27" name="TextBox 26"/>
            <p:cNvSpPr txBox="1"/>
            <p:nvPr/>
          </p:nvSpPr>
          <p:spPr>
            <a:xfrm>
              <a:off x="15738106" y="10583046"/>
              <a:ext cx="4165600" cy="129292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kern="0" dirty="0">
                  <a:solidFill>
                    <a:sysClr val="windowText" lastClr="000000"/>
                  </a:solidFill>
                  <a:latin typeface="Calibri"/>
                  <a:ea typeface="ヒラギノ角ゴ ProN W3"/>
                  <a:cs typeface="Calibri"/>
                </a:rPr>
                <a:t>processed results</a:t>
              </a:r>
            </a:p>
          </p:txBody>
        </p:sp>
      </p:grpSp>
      <p:sp>
        <p:nvSpPr>
          <p:cNvPr id="32" name="Content Placeholder 2"/>
          <p:cNvSpPr txBox="1">
            <a:spLocks/>
          </p:cNvSpPr>
          <p:nvPr/>
        </p:nvSpPr>
        <p:spPr bwMode="auto">
          <a:xfrm>
            <a:off x="533400" y="2057400"/>
            <a:ext cx="5638800" cy="274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marL="774700" indent="-457200" algn="l" rtl="0" eaLnBrk="0" fontAlgn="base" hangingPunct="0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Wingdings" charset="0"/>
              <a:buChar char="§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1219200" indent="-457200" algn="l" rtl="0" eaLnBrk="0" fontAlgn="base" hangingPunct="0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2pPr>
            <a:lvl3pPr marL="1663700" indent="-457200" algn="l" rtl="0" eaLnBrk="0" fontAlgn="base" hangingPunct="0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3pPr>
            <a:lvl4pPr marL="2108200" indent="-457200" algn="l" rtl="0" eaLnBrk="0" fontAlgn="base" hangingPunct="0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4pPr>
            <a:lvl5pPr marL="2552700" indent="-457200" algn="l" rtl="0" eaLnBrk="0" fontAlgn="base" hangingPunct="0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5pPr>
            <a:lvl6pPr marL="3009900" indent="-457200" algn="l" rtl="0" fontAlgn="base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6pPr>
            <a:lvl7pPr marL="3467100" indent="-457200" algn="l" rtl="0" fontAlgn="base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7pPr>
            <a:lvl8pPr marL="3924300" indent="-457200" algn="l" rtl="0" fontAlgn="base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8pPr>
            <a:lvl9pPr marL="4381500" indent="-457200" algn="l" rtl="0" fontAlgn="base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9pPr>
          </a:lstStyle>
          <a:p>
            <a:pPr marL="911225" indent="-454025">
              <a:lnSpc>
                <a:spcPct val="150000"/>
              </a:lnSpc>
              <a:spcBef>
                <a:spcPts val="1512"/>
              </a:spcBef>
              <a:buClr>
                <a:schemeClr val="accent2"/>
              </a:buClr>
              <a:defRPr/>
            </a:pPr>
            <a:r>
              <a:rPr lang="en-US" sz="2000" dirty="0" smtClean="0">
                <a:ea typeface="ヒラギノ角ゴ ProN W3"/>
                <a:cs typeface="Calibri"/>
              </a:rPr>
              <a:t>Batch sizes as low as ½ second, latency of about 1 second</a:t>
            </a:r>
          </a:p>
          <a:p>
            <a:pPr marL="911225" indent="-454025">
              <a:lnSpc>
                <a:spcPct val="150000"/>
              </a:lnSpc>
              <a:spcBef>
                <a:spcPts val="1512"/>
              </a:spcBef>
              <a:buClr>
                <a:schemeClr val="accent2"/>
              </a:buClr>
              <a:defRPr/>
            </a:pPr>
            <a:r>
              <a:rPr lang="en-US" sz="2000" dirty="0" smtClean="0">
                <a:ea typeface="ヒラギノ角ゴ ProN W3"/>
                <a:cs typeface="Calibri"/>
              </a:rPr>
              <a:t>Potential for combining batch processing and streaming processing in the same system</a:t>
            </a:r>
            <a:endParaRPr lang="en-US" sz="2000" dirty="0">
              <a:ea typeface="ヒラギノ角ゴ ProN W3"/>
              <a:cs typeface="Calibri"/>
            </a:endParaRPr>
          </a:p>
        </p:txBody>
      </p:sp>
      <p:sp>
        <p:nvSpPr>
          <p:cNvPr id="33" name="Title 3"/>
          <p:cNvSpPr>
            <a:spLocks noGrp="1"/>
          </p:cNvSpPr>
          <p:nvPr>
            <p:ph type="title"/>
          </p:nvPr>
        </p:nvSpPr>
        <p:spPr>
          <a:xfrm>
            <a:off x="374650" y="0"/>
            <a:ext cx="9531350" cy="79375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Spark </a:t>
            </a:r>
            <a:r>
              <a:rPr lang="en-US" b="1" dirty="0" err="1" smtClean="0">
                <a:latin typeface="+mj-lt"/>
              </a:rPr>
              <a:t>DStreams</a:t>
            </a:r>
            <a:endParaRPr lang="en-US" b="1" dirty="0"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23" grpId="0" animBg="1"/>
      <p:bldP spid="2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57200" y="1219200"/>
            <a:ext cx="9220200" cy="31624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400" lvl="1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b="1" dirty="0" smtClean="0"/>
              <a:t>Out of the box </a:t>
            </a:r>
            <a:r>
              <a:rPr lang="en-US" b="1" dirty="0" smtClean="0"/>
              <a:t>Spark </a:t>
            </a:r>
            <a:r>
              <a:rPr lang="en-US" b="1" dirty="0" smtClean="0"/>
              <a:t>provide</a:t>
            </a:r>
          </a:p>
          <a:p>
            <a:pPr marL="1371600" lvl="1" indent="-4572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dirty="0" smtClean="0"/>
              <a:t>Kafka</a:t>
            </a:r>
          </a:p>
          <a:p>
            <a:pPr marL="1371600" lvl="1" indent="-4572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dirty="0" smtClean="0"/>
              <a:t>HDFS</a:t>
            </a:r>
          </a:p>
          <a:p>
            <a:pPr marL="1371600" lvl="1" indent="-4572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dirty="0" smtClean="0"/>
              <a:t>Flume</a:t>
            </a:r>
          </a:p>
          <a:p>
            <a:pPr marL="1371600" lvl="1" indent="-4572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dirty="0" err="1" smtClean="0"/>
              <a:t>Akka</a:t>
            </a:r>
            <a:r>
              <a:rPr lang="en-US" dirty="0" smtClean="0"/>
              <a:t> Actors</a:t>
            </a:r>
          </a:p>
          <a:p>
            <a:pPr marL="1371600" lvl="1" indent="-4572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dirty="0" smtClean="0"/>
              <a:t>Raw TCP sockets</a:t>
            </a:r>
          </a:p>
          <a:p>
            <a:pPr marL="9144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dirty="0" smtClean="0"/>
              <a:t>Very </a:t>
            </a:r>
            <a:r>
              <a:rPr lang="en-US" dirty="0" smtClean="0"/>
              <a:t>easy to write a </a:t>
            </a:r>
            <a:r>
              <a:rPr lang="en-US" i="1" dirty="0" smtClean="0"/>
              <a:t>receiver</a:t>
            </a:r>
            <a:r>
              <a:rPr lang="en-US" dirty="0" smtClean="0"/>
              <a:t> for your own data source</a:t>
            </a:r>
            <a:endParaRPr lang="en-US" i="1" dirty="0" smtClean="0"/>
          </a:p>
        </p:txBody>
      </p:sp>
      <p:sp>
        <p:nvSpPr>
          <p:cNvPr id="7" name="Rectangle 6"/>
          <p:cNvSpPr/>
          <p:nvPr/>
        </p:nvSpPr>
        <p:spPr>
          <a:xfrm>
            <a:off x="0" y="76200"/>
            <a:ext cx="9906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/>
            <a:r>
              <a:rPr lang="en-US" sz="2800" b="1" dirty="0" smtClean="0"/>
              <a:t>Spark </a:t>
            </a:r>
            <a:r>
              <a:rPr lang="en-US" sz="2800" b="1" dirty="0" err="1" smtClean="0"/>
              <a:t>DStream</a:t>
            </a:r>
            <a:endParaRPr lang="en-US" sz="2800" b="1" dirty="0"/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3041340"/>
            <a:ext cx="9906000" cy="463860"/>
          </a:xfrm>
          <a:prstGeom prst="rect">
            <a:avLst/>
          </a:prstGeom>
          <a:gradFill rotWithShape="1">
            <a:gsLst>
              <a:gs pos="0">
                <a:srgbClr val="B5E1DF"/>
              </a:gs>
              <a:gs pos="100000">
                <a:srgbClr val="00A0D6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defTabSz="779252">
              <a:defRPr/>
            </a:pPr>
            <a:endParaRPr lang="fr-FR" sz="15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152400"/>
            <a:ext cx="9905999" cy="533400"/>
          </a:xfrm>
        </p:spPr>
        <p:txBody>
          <a:bodyPr anchor="b"/>
          <a:lstStyle/>
          <a:p>
            <a:pPr marL="457200" lvl="0" indent="-169863" defTabSz="117475">
              <a:lnSpc>
                <a:spcPct val="150000"/>
              </a:lnSpc>
              <a:defRPr/>
            </a:pPr>
            <a:r>
              <a:rPr lang="en-US" b="1" dirty="0" smtClean="0">
                <a:latin typeface="+mj-lt"/>
              </a:rPr>
              <a:t>A Twitter Example</a:t>
            </a:r>
            <a:endParaRPr lang="en-US" b="1" dirty="0" smtClean="0">
              <a:latin typeface="+mj-lt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371600"/>
            <a:ext cx="9448800" cy="5011736"/>
          </a:xfrm>
        </p:spPr>
        <p:txBody>
          <a:bodyPr/>
          <a:lstStyle/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What </a:t>
            </a:r>
            <a:r>
              <a:rPr lang="en-US" dirty="0" smtClean="0"/>
              <a:t>is Spark streaming?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Spark </a:t>
            </a:r>
            <a:r>
              <a:rPr lang="en-US" dirty="0" smtClean="0"/>
              <a:t>streaming </a:t>
            </a:r>
            <a:r>
              <a:rPr lang="en-US" dirty="0" smtClean="0"/>
              <a:t>: How it works ?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Spark </a:t>
            </a:r>
            <a:r>
              <a:rPr lang="en-US" dirty="0" err="1" smtClean="0"/>
              <a:t>DStreams</a:t>
            </a:r>
            <a:endParaRPr lang="en-US" dirty="0" smtClean="0"/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b="1" dirty="0" smtClean="0"/>
              <a:t>A Twitter </a:t>
            </a:r>
            <a:r>
              <a:rPr lang="en-US" b="1" dirty="0" smtClean="0"/>
              <a:t>example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Fault-tolerance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err="1" smtClean="0"/>
              <a:t>Stateful</a:t>
            </a:r>
            <a:r>
              <a:rPr lang="en-US" dirty="0" smtClean="0"/>
              <a:t> Stream Processing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Q </a:t>
            </a:r>
            <a:r>
              <a:rPr lang="en-US" dirty="0" smtClean="0"/>
              <a:t>&amp; </a:t>
            </a:r>
            <a:r>
              <a:rPr lang="en-US" dirty="0" smtClean="0"/>
              <a:t>A</a:t>
            </a:r>
            <a:endParaRPr lang="en-US" dirty="0" smtClean="0"/>
          </a:p>
          <a:p>
            <a:pPr marL="909638" indent="-452438">
              <a:lnSpc>
                <a:spcPct val="150000"/>
              </a:lnSpc>
            </a:pPr>
            <a:endParaRPr lang="en-US" dirty="0" smtClean="0"/>
          </a:p>
          <a:p>
            <a:pPr marL="909638" indent="-452438">
              <a:lnSpc>
                <a:spcPct val="150000"/>
              </a:lnSpc>
            </a:pPr>
            <a:endParaRPr lang="en-US" b="1" dirty="0" smtClean="0"/>
          </a:p>
        </p:txBody>
      </p:sp>
    </p:spTree>
    <p:extLst>
      <p:ext uri="{BB962C8B-B14F-4D97-AF65-F5344CB8AC3E}">
        <p14:creationId xmlns="" xmlns:p14="http://schemas.microsoft.com/office/powerpoint/2010/main" val="7597939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  <a:defRPr/>
            </a:pPr>
            <a:r>
              <a:rPr lang="en-US" sz="1700" dirty="0" err="1">
                <a:latin typeface="Consolas"/>
                <a:cs typeface="Consolas"/>
              </a:rPr>
              <a:t>val</a:t>
            </a:r>
            <a:r>
              <a:rPr lang="en-US" sz="1700" dirty="0">
                <a:latin typeface="Consolas"/>
                <a:cs typeface="Consolas"/>
              </a:rPr>
              <a:t> </a:t>
            </a:r>
            <a:r>
              <a:rPr lang="en-US" sz="1700" dirty="0">
                <a:solidFill>
                  <a:srgbClr val="B50B1B"/>
                </a:solidFill>
                <a:latin typeface="Consolas"/>
                <a:cs typeface="Consolas"/>
              </a:rPr>
              <a:t>tweets</a:t>
            </a:r>
            <a:r>
              <a:rPr lang="en-US" sz="1700" dirty="0">
                <a:solidFill>
                  <a:schemeClr val="accent4"/>
                </a:solidFill>
                <a:latin typeface="Consolas"/>
                <a:cs typeface="Consolas"/>
              </a:rPr>
              <a:t> </a:t>
            </a:r>
            <a:r>
              <a:rPr lang="en-US" sz="1700" dirty="0">
                <a:latin typeface="Consolas"/>
                <a:cs typeface="Consolas"/>
              </a:rPr>
              <a:t>= </a:t>
            </a:r>
            <a:r>
              <a:rPr lang="en-US" sz="1700" dirty="0" err="1">
                <a:latin typeface="Consolas"/>
                <a:cs typeface="Consolas"/>
              </a:rPr>
              <a:t>ssc.</a:t>
            </a:r>
            <a:r>
              <a:rPr lang="en-US" sz="1700" dirty="0" err="1">
                <a:solidFill>
                  <a:srgbClr val="0D8BE6"/>
                </a:solidFill>
                <a:latin typeface="Consolas"/>
                <a:cs typeface="Consolas"/>
              </a:rPr>
              <a:t>twitterStream</a:t>
            </a:r>
            <a:r>
              <a:rPr lang="en-US" sz="1700" dirty="0" smtClean="0">
                <a:latin typeface="Consolas"/>
                <a:cs typeface="Consolas"/>
              </a:rPr>
              <a:t>()</a:t>
            </a:r>
            <a:endParaRPr lang="en-US" sz="1700" dirty="0">
              <a:latin typeface="Consolas"/>
              <a:cs typeface="Consolas"/>
            </a:endParaRPr>
          </a:p>
          <a:p>
            <a:pPr marL="0" indent="0">
              <a:buNone/>
              <a:defRPr/>
            </a:pPr>
            <a:endParaRPr lang="en-US" sz="2500" dirty="0"/>
          </a:p>
          <a:p>
            <a:pPr>
              <a:defRPr/>
            </a:pPr>
            <a:endParaRPr lang="en-US" sz="2000" dirty="0"/>
          </a:p>
        </p:txBody>
      </p:sp>
      <p:sp>
        <p:nvSpPr>
          <p:cNvPr id="81" name="Rounded Rectangular Callout 80"/>
          <p:cNvSpPr/>
          <p:nvPr/>
        </p:nvSpPr>
        <p:spPr>
          <a:xfrm>
            <a:off x="495300" y="2095500"/>
            <a:ext cx="6191250" cy="685800"/>
          </a:xfrm>
          <a:prstGeom prst="wedgeRoundRectCallout">
            <a:avLst>
              <a:gd name="adj1" fmla="val -32316"/>
              <a:gd name="adj2" fmla="val -91974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b="1" dirty="0" err="1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DStream</a:t>
            </a:r>
            <a:r>
              <a:rPr lang="en-US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: a sequence of </a:t>
            </a:r>
            <a:r>
              <a:rPr lang="en-US" dirty="0" smtClean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RDDs </a:t>
            </a:r>
            <a:r>
              <a:rPr lang="en-US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representing a stream of data</a:t>
            </a:r>
          </a:p>
        </p:txBody>
      </p:sp>
      <p:grpSp>
        <p:nvGrpSpPr>
          <p:cNvPr id="2" name="Group 84"/>
          <p:cNvGrpSpPr>
            <a:grpSpLocks/>
          </p:cNvGrpSpPr>
          <p:nvPr/>
        </p:nvGrpSpPr>
        <p:grpSpPr bwMode="auto">
          <a:xfrm>
            <a:off x="3163987" y="4019551"/>
            <a:ext cx="904180" cy="296069"/>
            <a:chOff x="7918600" y="4832650"/>
            <a:chExt cx="2458447" cy="653855"/>
          </a:xfrm>
        </p:grpSpPr>
        <p:sp>
          <p:nvSpPr>
            <p:cNvPr id="86" name="Alternate Process 85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87" name="Straight Connector 86"/>
            <p:cNvCxnSpPr>
              <a:stCxn id="86" idx="0"/>
              <a:endCxn id="86" idx="2"/>
            </p:cNvCxnSpPr>
            <p:nvPr/>
          </p:nvCxnSpPr>
          <p:spPr>
            <a:xfrm>
              <a:off x="9147824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88" name="Straight Connector 87"/>
            <p:cNvCxnSpPr/>
            <p:nvPr/>
          </p:nvCxnSpPr>
          <p:spPr>
            <a:xfrm>
              <a:off x="9784354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89" name="Straight Connector 88"/>
            <p:cNvCxnSpPr/>
            <p:nvPr/>
          </p:nvCxnSpPr>
          <p:spPr>
            <a:xfrm>
              <a:off x="8548117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grpSp>
        <p:nvGrpSpPr>
          <p:cNvPr id="3" name="Group 89"/>
          <p:cNvGrpSpPr>
            <a:grpSpLocks/>
          </p:cNvGrpSpPr>
          <p:nvPr/>
        </p:nvGrpSpPr>
        <p:grpSpPr bwMode="auto">
          <a:xfrm>
            <a:off x="3106588" y="4371182"/>
            <a:ext cx="1062187" cy="380206"/>
            <a:chOff x="7762239" y="5609988"/>
            <a:chExt cx="2889827" cy="840669"/>
          </a:xfrm>
        </p:grpSpPr>
        <p:pic>
          <p:nvPicPr>
            <p:cNvPr id="19490" name="Picture 90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2239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91" name="Picture 91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1349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92" name="Picture 92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7228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93" name="Picture 93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1061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" name="Group 94"/>
          <p:cNvGrpSpPr>
            <a:grpSpLocks/>
          </p:cNvGrpSpPr>
          <p:nvPr/>
        </p:nvGrpSpPr>
        <p:grpSpPr bwMode="auto">
          <a:xfrm>
            <a:off x="3095625" y="3269456"/>
            <a:ext cx="4953000" cy="516731"/>
            <a:chOff x="3523416" y="4511948"/>
            <a:chExt cx="1861716" cy="322227"/>
          </a:xfrm>
        </p:grpSpPr>
        <p:sp>
          <p:nvSpPr>
            <p:cNvPr id="96" name="Right Arrow 95"/>
            <p:cNvSpPr/>
            <p:nvPr/>
          </p:nvSpPr>
          <p:spPr>
            <a:xfrm>
              <a:off x="5122601" y="4511948"/>
              <a:ext cx="262531" cy="322227"/>
            </a:xfrm>
            <a:prstGeom prst="rightArrow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endParaRPr lang="en-US" sz="1500" kern="0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endParaRPr>
            </a:p>
          </p:txBody>
        </p:sp>
        <p:sp>
          <p:nvSpPr>
            <p:cNvPr id="97" name="Rectangle 96"/>
            <p:cNvSpPr/>
            <p:nvPr/>
          </p:nvSpPr>
          <p:spPr>
            <a:xfrm>
              <a:off x="4055750" y="4600053"/>
              <a:ext cx="408705" cy="155421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500" kern="0" dirty="0">
                  <a:solidFill>
                    <a:prstClr val="black"/>
                  </a:solidFill>
                  <a:latin typeface="Calibri"/>
                  <a:ea typeface="ヒラギノ角ゴ ProN W3"/>
                  <a:cs typeface="ヒラギノ角ゴ ProN W3"/>
                </a:rPr>
                <a:t>batch @ t+1</a:t>
              </a:r>
            </a:p>
          </p:txBody>
        </p:sp>
        <p:sp>
          <p:nvSpPr>
            <p:cNvPr id="98" name="Rectangle 97"/>
            <p:cNvSpPr/>
            <p:nvPr/>
          </p:nvSpPr>
          <p:spPr>
            <a:xfrm>
              <a:off x="3523416" y="4603518"/>
              <a:ext cx="408705" cy="155421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500" kern="0" dirty="0">
                  <a:solidFill>
                    <a:prstClr val="black"/>
                  </a:solidFill>
                  <a:latin typeface="Calibri"/>
                  <a:ea typeface="ヒラギノ角ゴ ProN W3"/>
                  <a:cs typeface="ヒラギノ角ゴ ProN W3"/>
                </a:rPr>
                <a:t>b</a:t>
              </a:r>
              <a:r>
                <a:rPr lang="en-US" sz="1500" kern="0" dirty="0" err="1">
                  <a:solidFill>
                    <a:prstClr val="black"/>
                  </a:solidFill>
                  <a:latin typeface="Calibri"/>
                  <a:ea typeface="ヒラギノ角ゴ ProN W3"/>
                  <a:cs typeface="ヒラギノ角ゴ ProN W3"/>
                </a:rPr>
                <a:t>atch</a:t>
              </a:r>
              <a:r>
                <a:rPr lang="en-US" sz="1500" kern="0" dirty="0">
                  <a:solidFill>
                    <a:prstClr val="black"/>
                  </a:solidFill>
                  <a:latin typeface="Calibri"/>
                  <a:ea typeface="ヒラギノ角ゴ ProN W3"/>
                  <a:cs typeface="ヒラギノ角ゴ ProN W3"/>
                </a:rPr>
                <a:t> @ t</a:t>
              </a: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4587600" y="4603518"/>
              <a:ext cx="408705" cy="155421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500" kern="0" dirty="0">
                  <a:solidFill>
                    <a:prstClr val="black"/>
                  </a:solidFill>
                  <a:latin typeface="Calibri"/>
                  <a:ea typeface="ヒラギノ角ゴ ProN W3"/>
                  <a:cs typeface="ヒラギノ角ゴ ProN W3"/>
                </a:rPr>
                <a:t>batch @ t+2</a:t>
              </a:r>
            </a:p>
          </p:txBody>
        </p:sp>
      </p:grpSp>
      <p:grpSp>
        <p:nvGrpSpPr>
          <p:cNvPr id="7" name="Group 110"/>
          <p:cNvGrpSpPr>
            <a:grpSpLocks/>
          </p:cNvGrpSpPr>
          <p:nvPr/>
        </p:nvGrpSpPr>
        <p:grpSpPr bwMode="auto">
          <a:xfrm>
            <a:off x="4535091" y="4371182"/>
            <a:ext cx="1062187" cy="380206"/>
            <a:chOff x="7762239" y="5609988"/>
            <a:chExt cx="2889827" cy="840669"/>
          </a:xfrm>
        </p:grpSpPr>
        <p:pic>
          <p:nvPicPr>
            <p:cNvPr id="19482" name="Picture 158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2239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3" name="Picture 161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1349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4" name="Picture 162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7228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5" name="Picture 163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1061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Group 169"/>
          <p:cNvGrpSpPr>
            <a:grpSpLocks/>
          </p:cNvGrpSpPr>
          <p:nvPr/>
        </p:nvGrpSpPr>
        <p:grpSpPr bwMode="auto">
          <a:xfrm>
            <a:off x="5935861" y="4371182"/>
            <a:ext cx="1062187" cy="380206"/>
            <a:chOff x="7762239" y="5609988"/>
            <a:chExt cx="2889827" cy="840669"/>
          </a:xfrm>
        </p:grpSpPr>
        <p:pic>
          <p:nvPicPr>
            <p:cNvPr id="19478" name="Picture 170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2239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79" name="Picture 171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1349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0" name="Picture 172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7228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1" name="Picture 173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1061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75" name="Rectangle 174"/>
          <p:cNvSpPr>
            <a:spLocks noChangeArrowheads="1"/>
          </p:cNvSpPr>
          <p:nvPr/>
        </p:nvSpPr>
        <p:spPr bwMode="auto">
          <a:xfrm>
            <a:off x="851614" y="3974112"/>
            <a:ext cx="2012156" cy="33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405" tIns="19202" rIns="38405" bIns="19202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tweets </a:t>
            </a:r>
            <a:r>
              <a:rPr lang="en-US" dirty="0" err="1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DStream</a:t>
            </a:r>
            <a:endParaRPr lang="en-US" dirty="0">
              <a:solidFill>
                <a:prstClr val="black"/>
              </a:solidFill>
              <a:latin typeface="Calibri" charset="0"/>
              <a:ea typeface="ヒラギノ角ゴ ProN W3"/>
              <a:cs typeface="Calibri" charset="0"/>
            </a:endParaRPr>
          </a:p>
        </p:txBody>
      </p:sp>
      <p:sp>
        <p:nvSpPr>
          <p:cNvPr id="176" name="Rounded Rectangular Callout 175"/>
          <p:cNvSpPr/>
          <p:nvPr/>
        </p:nvSpPr>
        <p:spPr>
          <a:xfrm>
            <a:off x="6356350" y="5410200"/>
            <a:ext cx="3054350" cy="762000"/>
          </a:xfrm>
          <a:prstGeom prst="wedgeRoundRectCallout">
            <a:avLst>
              <a:gd name="adj1" fmla="val -33826"/>
              <a:gd name="adj2" fmla="val -124938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stored in memory as an RDD (immutable, distributed)</a:t>
            </a:r>
          </a:p>
        </p:txBody>
      </p:sp>
      <p:grpSp>
        <p:nvGrpSpPr>
          <p:cNvPr id="9" name="Group 84"/>
          <p:cNvGrpSpPr>
            <a:grpSpLocks/>
          </p:cNvGrpSpPr>
          <p:nvPr/>
        </p:nvGrpSpPr>
        <p:grpSpPr bwMode="auto">
          <a:xfrm>
            <a:off x="4589265" y="4024314"/>
            <a:ext cx="904180" cy="296069"/>
            <a:chOff x="7918600" y="4832650"/>
            <a:chExt cx="2458447" cy="653855"/>
          </a:xfrm>
        </p:grpSpPr>
        <p:sp>
          <p:nvSpPr>
            <p:cNvPr id="43" name="Alternate Process 42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44" name="Straight Connector 43"/>
            <p:cNvCxnSpPr>
              <a:stCxn id="43" idx="0"/>
              <a:endCxn id="43" idx="2"/>
            </p:cNvCxnSpPr>
            <p:nvPr/>
          </p:nvCxnSpPr>
          <p:spPr>
            <a:xfrm>
              <a:off x="9147824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>
              <a:off x="9784354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>
              <a:off x="8548117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grpSp>
        <p:nvGrpSpPr>
          <p:cNvPr id="10" name="Group 84"/>
          <p:cNvGrpSpPr>
            <a:grpSpLocks/>
          </p:cNvGrpSpPr>
          <p:nvPr/>
        </p:nvGrpSpPr>
        <p:grpSpPr bwMode="auto">
          <a:xfrm>
            <a:off x="5982296" y="4024314"/>
            <a:ext cx="904180" cy="296069"/>
            <a:chOff x="7918600" y="4832650"/>
            <a:chExt cx="2458447" cy="653855"/>
          </a:xfrm>
        </p:grpSpPr>
        <p:sp>
          <p:nvSpPr>
            <p:cNvPr id="48" name="Alternate Process 47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49" name="Straight Connector 48"/>
            <p:cNvCxnSpPr>
              <a:stCxn id="48" idx="0"/>
              <a:endCxn id="48" idx="2"/>
            </p:cNvCxnSpPr>
            <p:nvPr/>
          </p:nvCxnSpPr>
          <p:spPr>
            <a:xfrm>
              <a:off x="9147824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>
              <a:off x="9784354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>
              <a:off x="8548117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sp>
        <p:nvSpPr>
          <p:cNvPr id="52" name="Rectangle 51"/>
          <p:cNvSpPr>
            <a:spLocks noChangeArrowheads="1"/>
          </p:cNvSpPr>
          <p:nvPr/>
        </p:nvSpPr>
        <p:spPr bwMode="auto">
          <a:xfrm>
            <a:off x="700483" y="3389132"/>
            <a:ext cx="3405188" cy="33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405" tIns="19202" rIns="38405" bIns="19202">
            <a:spAutoFit/>
          </a:bodyPr>
          <a:lstStyle/>
          <a:p>
            <a:r>
              <a:rPr lang="en-US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Twitter Streaming API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533400" y="6216134"/>
            <a:ext cx="80342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Source:datadricks</a:t>
            </a:r>
            <a:endParaRPr lang="en-US" sz="6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4" name="Title 3"/>
          <p:cNvSpPr>
            <a:spLocks noGrp="1"/>
          </p:cNvSpPr>
          <p:nvPr>
            <p:ph type="title"/>
          </p:nvPr>
        </p:nvSpPr>
        <p:spPr>
          <a:xfrm>
            <a:off x="374650" y="76200"/>
            <a:ext cx="9531350" cy="79375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Example – Get </a:t>
            </a:r>
            <a:r>
              <a:rPr lang="en-US" b="1" dirty="0" err="1" smtClean="0">
                <a:latin typeface="+mj-lt"/>
              </a:rPr>
              <a:t>hashtags</a:t>
            </a:r>
            <a:r>
              <a:rPr lang="en-US" b="1" dirty="0" smtClean="0">
                <a:latin typeface="+mj-lt"/>
              </a:rPr>
              <a:t> from Twitter </a:t>
            </a:r>
            <a:endParaRPr lang="en-US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800248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0.07569 L 5E-6 -2.22222E-6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78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0.07569 L 5E-6 -2.22222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78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3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3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0.07569 L 5E-6 -2.22222E-6 " pathEditMode="relative" rAng="0" ptsTypes="AA">
                                      <p:cBhvr>
                                        <p:cTn id="4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78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5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" grpId="0" animBg="1"/>
      <p:bldP spid="175" grpId="0"/>
      <p:bldP spid="176" grpId="0" animBg="1"/>
      <p:bldP spid="5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4650" y="76200"/>
            <a:ext cx="9531350" cy="79375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Example – Get </a:t>
            </a:r>
            <a:r>
              <a:rPr lang="en-US" b="1" dirty="0" err="1" smtClean="0">
                <a:latin typeface="+mj-lt"/>
              </a:rPr>
              <a:t>hashtags</a:t>
            </a:r>
            <a:r>
              <a:rPr lang="en-US" b="1" dirty="0" smtClean="0">
                <a:latin typeface="+mj-lt"/>
              </a:rPr>
              <a:t> from Twitter </a:t>
            </a:r>
            <a:endParaRPr lang="en-US" b="1" dirty="0">
              <a:latin typeface="+mj-lt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  <a:defRPr/>
            </a:pP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val</a:t>
            </a:r>
            <a:r>
              <a:rPr lang="en-US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 tweets = </a:t>
            </a: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ssc.twitterStream</a:t>
            </a:r>
            <a:r>
              <a:rPr lang="en-US" sz="17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()</a:t>
            </a:r>
            <a:endParaRPr lang="en-US" sz="1700" dirty="0">
              <a:solidFill>
                <a:schemeClr val="tx1">
                  <a:lumMod val="50000"/>
                  <a:lumOff val="50000"/>
                </a:schemeClr>
              </a:solidFill>
              <a:latin typeface="Consolas"/>
              <a:cs typeface="Consolas"/>
            </a:endParaRPr>
          </a:p>
          <a:p>
            <a:pPr marL="0" indent="0">
              <a:buNone/>
              <a:defRPr/>
            </a:pPr>
            <a:r>
              <a:rPr lang="en-US" sz="1700" dirty="0" err="1">
                <a:latin typeface="Consolas"/>
                <a:cs typeface="Consolas"/>
              </a:rPr>
              <a:t>val</a:t>
            </a:r>
            <a:r>
              <a:rPr lang="en-US" sz="1700" dirty="0">
                <a:latin typeface="Consolas"/>
                <a:cs typeface="Consolas"/>
              </a:rPr>
              <a:t> </a:t>
            </a:r>
            <a:r>
              <a:rPr lang="en-US" sz="1700" dirty="0" err="1">
                <a:solidFill>
                  <a:srgbClr val="C61B1B"/>
                </a:solidFill>
                <a:latin typeface="Consolas"/>
                <a:cs typeface="Consolas"/>
              </a:rPr>
              <a:t>hashTags</a:t>
            </a:r>
            <a:r>
              <a:rPr lang="en-US" sz="1700" dirty="0">
                <a:solidFill>
                  <a:srgbClr val="C61B1B"/>
                </a:solidFill>
                <a:latin typeface="Consolas"/>
                <a:cs typeface="Consolas"/>
              </a:rPr>
              <a:t> </a:t>
            </a:r>
            <a:r>
              <a:rPr lang="en-US" sz="1700" dirty="0">
                <a:latin typeface="Consolas"/>
                <a:cs typeface="Consolas"/>
              </a:rPr>
              <a:t>= </a:t>
            </a:r>
            <a:r>
              <a:rPr lang="en-US" sz="1700" dirty="0" err="1">
                <a:solidFill>
                  <a:srgbClr val="C61B1B"/>
                </a:solidFill>
                <a:latin typeface="Consolas"/>
                <a:cs typeface="Consolas"/>
              </a:rPr>
              <a:t>tweets</a:t>
            </a:r>
            <a:r>
              <a:rPr lang="en-US" sz="1700" dirty="0" err="1">
                <a:latin typeface="Consolas"/>
                <a:cs typeface="Consolas"/>
              </a:rPr>
              <a:t>.</a:t>
            </a:r>
            <a:r>
              <a:rPr lang="en-US" sz="1700" dirty="0" err="1">
                <a:solidFill>
                  <a:srgbClr val="0D8BE6"/>
                </a:solidFill>
                <a:latin typeface="Consolas"/>
                <a:cs typeface="Consolas"/>
              </a:rPr>
              <a:t>flatMap</a:t>
            </a:r>
            <a:r>
              <a:rPr lang="en-US" sz="1700" dirty="0">
                <a:solidFill>
                  <a:srgbClr val="0D8BE6"/>
                </a:solidFill>
                <a:latin typeface="Consolas"/>
                <a:cs typeface="Consolas"/>
              </a:rPr>
              <a:t> </a:t>
            </a:r>
            <a:r>
              <a:rPr lang="en-US" sz="1700" dirty="0">
                <a:latin typeface="Consolas"/>
                <a:cs typeface="Consolas"/>
              </a:rPr>
              <a:t>(status =&gt; </a:t>
            </a:r>
            <a:r>
              <a:rPr lang="en-US" sz="1700" dirty="0" err="1">
                <a:latin typeface="Consolas"/>
                <a:cs typeface="Consolas"/>
              </a:rPr>
              <a:t>getTags</a:t>
            </a:r>
            <a:r>
              <a:rPr lang="en-US" sz="1700" dirty="0">
                <a:latin typeface="Consolas"/>
                <a:cs typeface="Consolas"/>
              </a:rPr>
              <a:t>(status))</a:t>
            </a:r>
          </a:p>
          <a:p>
            <a:pPr marL="0" indent="0">
              <a:buNone/>
              <a:defRPr/>
            </a:pPr>
            <a:endParaRPr lang="en-US" sz="2500" dirty="0"/>
          </a:p>
          <a:p>
            <a:pPr>
              <a:defRPr/>
            </a:pPr>
            <a:endParaRPr lang="en-US" sz="2000" dirty="0"/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3108523" y="4310857"/>
            <a:ext cx="1431727" cy="1594644"/>
            <a:chOff x="7651750" y="8621713"/>
            <a:chExt cx="3524022" cy="3189287"/>
          </a:xfrm>
        </p:grpSpPr>
        <p:grpSp>
          <p:nvGrpSpPr>
            <p:cNvPr id="3" name="Group 18"/>
            <p:cNvGrpSpPr>
              <a:grpSpLocks/>
            </p:cNvGrpSpPr>
            <p:nvPr/>
          </p:nvGrpSpPr>
          <p:grpSpPr bwMode="auto">
            <a:xfrm>
              <a:off x="7651750" y="11050588"/>
              <a:ext cx="2614613" cy="760412"/>
              <a:chOff x="13968431" y="5604337"/>
              <a:chExt cx="2889827" cy="840669"/>
            </a:xfrm>
          </p:grpSpPr>
          <p:pic>
            <p:nvPicPr>
              <p:cNvPr id="20561" name="Picture 19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68431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62" name="Picture 20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619692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63" name="Picture 21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278479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64" name="Picture 22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937253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6" name="Group 23"/>
            <p:cNvGrpSpPr>
              <a:grpSpLocks/>
            </p:cNvGrpSpPr>
            <p:nvPr/>
          </p:nvGrpSpPr>
          <p:grpSpPr bwMode="auto">
            <a:xfrm>
              <a:off x="7767638" y="10323513"/>
              <a:ext cx="2224087" cy="590550"/>
              <a:chOff x="7918600" y="4832650"/>
              <a:chExt cx="2458447" cy="653855"/>
            </a:xfrm>
          </p:grpSpPr>
          <p:sp>
            <p:nvSpPr>
              <p:cNvPr id="25" name="Alternate Process 24"/>
              <p:cNvSpPr/>
              <p:nvPr/>
            </p:nvSpPr>
            <p:spPr>
              <a:xfrm>
                <a:off x="7918592" y="4846711"/>
                <a:ext cx="2458288" cy="629248"/>
              </a:xfrm>
              <a:prstGeom prst="flowChartAlternateProcess">
                <a:avLst/>
              </a:prstGeom>
              <a:solidFill>
                <a:schemeClr val="accent6"/>
              </a:solidFill>
              <a:ln w="19050" cmpd="sng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>
                  <a:solidFill>
                    <a:prstClr val="black"/>
                  </a:solidFill>
                  <a:latin typeface="Arial"/>
                  <a:ea typeface="ヒラギノ角ゴ ProN W3"/>
                  <a:cs typeface="ヒラギノ角ゴ ProN W3"/>
                </a:endParaRPr>
              </a:p>
            </p:txBody>
          </p:sp>
          <p:cxnSp>
            <p:nvCxnSpPr>
              <p:cNvPr id="26" name="Straight Connector 25"/>
              <p:cNvCxnSpPr>
                <a:stCxn id="25" idx="0"/>
                <a:endCxn id="25" idx="2"/>
              </p:cNvCxnSpPr>
              <p:nvPr/>
            </p:nvCxnSpPr>
            <p:spPr>
              <a:xfrm>
                <a:off x="9148613" y="4846711"/>
                <a:ext cx="0" cy="629248"/>
              </a:xfrm>
              <a:prstGeom prst="line">
                <a:avLst/>
              </a:prstGeom>
              <a:ln w="19050" cmpd="sng">
                <a:headEnd type="none"/>
                <a:tailEnd type="none" w="sm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" name="Straight Connector 26"/>
              <p:cNvCxnSpPr/>
              <p:nvPr/>
            </p:nvCxnSpPr>
            <p:spPr>
              <a:xfrm>
                <a:off x="9785558" y="4832650"/>
                <a:ext cx="0" cy="629248"/>
              </a:xfrm>
              <a:prstGeom prst="line">
                <a:avLst/>
              </a:prstGeom>
              <a:ln w="19050" cmpd="sng">
                <a:headEnd type="none"/>
                <a:tailEnd type="none" w="sm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8" name="Straight Connector 27"/>
              <p:cNvCxnSpPr/>
              <p:nvPr/>
            </p:nvCxnSpPr>
            <p:spPr>
              <a:xfrm>
                <a:off x="8548517" y="4857257"/>
                <a:ext cx="0" cy="629248"/>
              </a:xfrm>
              <a:prstGeom prst="line">
                <a:avLst/>
              </a:prstGeom>
              <a:ln w="19050" cmpd="sng">
                <a:headEnd type="none"/>
                <a:tailEnd type="none" w="sm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20555" name="TextBox 62"/>
            <p:cNvSpPr txBox="1">
              <a:spLocks noChangeArrowheads="1"/>
            </p:cNvSpPr>
            <p:nvPr/>
          </p:nvSpPr>
          <p:spPr bwMode="auto">
            <a:xfrm>
              <a:off x="8778874" y="9457615"/>
              <a:ext cx="2396898" cy="461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tIns="0" bIns="0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sz="1500" dirty="0" err="1">
                  <a:latin typeface="Calibri" charset="0"/>
                  <a:cs typeface="Calibri" charset="0"/>
                </a:rPr>
                <a:t>flatMap</a:t>
              </a:r>
              <a:endParaRPr lang="en-US" sz="1500" dirty="0">
                <a:latin typeface="Calibri" charset="0"/>
                <a:cs typeface="Calibri" charset="0"/>
              </a:endParaRPr>
            </a:p>
          </p:txBody>
        </p:sp>
        <p:cxnSp>
          <p:nvCxnSpPr>
            <p:cNvPr id="109" name="Straight Arrow Connector 108"/>
            <p:cNvCxnSpPr>
              <a:stCxn id="9" idx="2"/>
              <a:endCxn id="25" idx="0"/>
            </p:cNvCxnSpPr>
            <p:nvPr/>
          </p:nvCxnSpPr>
          <p:spPr bwMode="auto">
            <a:xfrm flipH="1">
              <a:off x="8878809" y="8621713"/>
              <a:ext cx="22224" cy="1714500"/>
            </a:xfrm>
            <a:prstGeom prst="straightConnector1">
              <a:avLst/>
            </a:prstGeom>
            <a:solidFill>
              <a:srgbClr val="000000"/>
            </a:solidFill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grpSp>
        <p:nvGrpSpPr>
          <p:cNvPr id="7" name="Group 12"/>
          <p:cNvGrpSpPr>
            <a:grpSpLocks/>
          </p:cNvGrpSpPr>
          <p:nvPr/>
        </p:nvGrpSpPr>
        <p:grpSpPr bwMode="auto">
          <a:xfrm>
            <a:off x="4537025" y="4310857"/>
            <a:ext cx="1406574" cy="1594644"/>
            <a:chOff x="11168063" y="8621713"/>
            <a:chExt cx="3461725" cy="3189287"/>
          </a:xfrm>
        </p:grpSpPr>
        <p:sp>
          <p:nvSpPr>
            <p:cNvPr id="20541" name="TextBox 131"/>
            <p:cNvSpPr txBox="1">
              <a:spLocks noChangeArrowheads="1"/>
            </p:cNvSpPr>
            <p:nvPr/>
          </p:nvSpPr>
          <p:spPr bwMode="auto">
            <a:xfrm>
              <a:off x="12294835" y="9457615"/>
              <a:ext cx="2334953" cy="461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tIns="0" bIns="0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sz="1500" dirty="0" err="1">
                  <a:latin typeface="Calibri" charset="0"/>
                  <a:cs typeface="Calibri" charset="0"/>
                </a:rPr>
                <a:t>flatMap</a:t>
              </a:r>
              <a:endParaRPr lang="en-US" sz="1500" dirty="0">
                <a:latin typeface="Calibri" charset="0"/>
                <a:cs typeface="Calibri" charset="0"/>
              </a:endParaRPr>
            </a:p>
          </p:txBody>
        </p:sp>
        <p:grpSp>
          <p:nvGrpSpPr>
            <p:cNvPr id="8" name="Group 121"/>
            <p:cNvGrpSpPr>
              <a:grpSpLocks/>
            </p:cNvGrpSpPr>
            <p:nvPr/>
          </p:nvGrpSpPr>
          <p:grpSpPr bwMode="auto">
            <a:xfrm>
              <a:off x="11168063" y="11050588"/>
              <a:ext cx="2614612" cy="760412"/>
              <a:chOff x="13968431" y="5604337"/>
              <a:chExt cx="2889827" cy="840669"/>
            </a:xfrm>
          </p:grpSpPr>
          <p:pic>
            <p:nvPicPr>
              <p:cNvPr id="20549" name="Picture 122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68431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50" name="Picture 123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619692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51" name="Picture 124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278479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52" name="Picture 125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937253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3" name="Group 126"/>
            <p:cNvGrpSpPr>
              <a:grpSpLocks/>
            </p:cNvGrpSpPr>
            <p:nvPr/>
          </p:nvGrpSpPr>
          <p:grpSpPr bwMode="auto">
            <a:xfrm>
              <a:off x="11283950" y="10323513"/>
              <a:ext cx="2224088" cy="590550"/>
              <a:chOff x="7918600" y="4832650"/>
              <a:chExt cx="2458447" cy="653855"/>
            </a:xfrm>
          </p:grpSpPr>
          <p:sp>
            <p:nvSpPr>
              <p:cNvPr id="128" name="Alternate Process 127"/>
              <p:cNvSpPr/>
              <p:nvPr/>
            </p:nvSpPr>
            <p:spPr>
              <a:xfrm>
                <a:off x="7918578" y="4846711"/>
                <a:ext cx="2458014" cy="629248"/>
              </a:xfrm>
              <a:prstGeom prst="flowChartAlternateProcess">
                <a:avLst/>
              </a:prstGeom>
              <a:solidFill>
                <a:schemeClr val="accent6"/>
              </a:solidFill>
              <a:ln w="19050" cmpd="sng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>
                  <a:solidFill>
                    <a:prstClr val="black"/>
                  </a:solidFill>
                  <a:latin typeface="Arial"/>
                  <a:ea typeface="ヒラギノ角ゴ ProN W3"/>
                  <a:cs typeface="ヒラギノ角ゴ ProN W3"/>
                </a:endParaRPr>
              </a:p>
            </p:txBody>
          </p:sp>
          <p:cxnSp>
            <p:nvCxnSpPr>
              <p:cNvPr id="129" name="Straight Connector 128"/>
              <p:cNvCxnSpPr>
                <a:stCxn id="128" idx="0"/>
                <a:endCxn id="128" idx="2"/>
              </p:cNvCxnSpPr>
              <p:nvPr/>
            </p:nvCxnSpPr>
            <p:spPr>
              <a:xfrm>
                <a:off x="9148462" y="4846711"/>
                <a:ext cx="0" cy="629248"/>
              </a:xfrm>
              <a:prstGeom prst="line">
                <a:avLst/>
              </a:prstGeom>
              <a:ln w="19050" cmpd="sng">
                <a:headEnd type="none"/>
                <a:tailEnd type="none" w="sm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9785335" y="4832650"/>
                <a:ext cx="0" cy="629248"/>
              </a:xfrm>
              <a:prstGeom prst="line">
                <a:avLst/>
              </a:prstGeom>
              <a:ln w="19050" cmpd="sng">
                <a:headEnd type="none"/>
                <a:tailEnd type="none" w="sm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8548433" y="4857257"/>
                <a:ext cx="0" cy="629248"/>
              </a:xfrm>
              <a:prstGeom prst="line">
                <a:avLst/>
              </a:prstGeom>
              <a:ln w="19050" cmpd="sng">
                <a:headEnd type="none"/>
                <a:tailEnd type="none" w="sm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</p:grpSp>
        <p:cxnSp>
          <p:nvCxnSpPr>
            <p:cNvPr id="133" name="Straight Arrow Connector 132"/>
            <p:cNvCxnSpPr>
              <a:stCxn id="113" idx="2"/>
              <a:endCxn id="128" idx="0"/>
            </p:cNvCxnSpPr>
            <p:nvPr/>
          </p:nvCxnSpPr>
          <p:spPr bwMode="auto">
            <a:xfrm flipH="1">
              <a:off x="12394984" y="8621713"/>
              <a:ext cx="22221" cy="1714500"/>
            </a:xfrm>
            <a:prstGeom prst="straightConnector1">
              <a:avLst/>
            </a:prstGeom>
            <a:solidFill>
              <a:srgbClr val="000000"/>
            </a:solidFill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grpSp>
        <p:nvGrpSpPr>
          <p:cNvPr id="14" name="Group 13"/>
          <p:cNvGrpSpPr>
            <a:grpSpLocks/>
          </p:cNvGrpSpPr>
          <p:nvPr/>
        </p:nvGrpSpPr>
        <p:grpSpPr bwMode="auto">
          <a:xfrm>
            <a:off x="5858295" y="4310857"/>
            <a:ext cx="1488655" cy="1594644"/>
            <a:chOff x="14420420" y="8621713"/>
            <a:chExt cx="3664380" cy="3189287"/>
          </a:xfrm>
        </p:grpSpPr>
        <p:sp>
          <p:nvSpPr>
            <p:cNvPr id="20528" name="TextBox 153"/>
            <p:cNvSpPr txBox="1">
              <a:spLocks noChangeArrowheads="1"/>
            </p:cNvSpPr>
            <p:nvPr/>
          </p:nvSpPr>
          <p:spPr bwMode="auto">
            <a:xfrm>
              <a:off x="15741852" y="9457615"/>
              <a:ext cx="2342948" cy="461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tIns="0" bIns="0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sz="1500" dirty="0" err="1">
                  <a:latin typeface="Calibri" charset="0"/>
                  <a:cs typeface="Calibri" charset="0"/>
                </a:rPr>
                <a:t>flatMap</a:t>
              </a:r>
              <a:endParaRPr lang="en-US" sz="1500" dirty="0">
                <a:latin typeface="Calibri" charset="0"/>
                <a:cs typeface="Calibri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 rot="16200000">
              <a:off x="14507366" y="10196879"/>
              <a:ext cx="773114" cy="94700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dirty="0">
                  <a:solidFill>
                    <a:prstClr val="black"/>
                  </a:solidFill>
                  <a:latin typeface="Arial"/>
                  <a:ea typeface="ヒラギノ角ゴ ProN W3"/>
                  <a:cs typeface="Tw Cen MT"/>
                </a:rPr>
                <a:t>…</a:t>
              </a:r>
            </a:p>
          </p:txBody>
        </p:sp>
        <p:grpSp>
          <p:nvGrpSpPr>
            <p:cNvPr id="15" name="Group 143"/>
            <p:cNvGrpSpPr>
              <a:grpSpLocks/>
            </p:cNvGrpSpPr>
            <p:nvPr/>
          </p:nvGrpSpPr>
          <p:grpSpPr bwMode="auto">
            <a:xfrm>
              <a:off x="14614525" y="11050588"/>
              <a:ext cx="2614613" cy="760412"/>
              <a:chOff x="13968431" y="5604337"/>
              <a:chExt cx="2889827" cy="840669"/>
            </a:xfrm>
          </p:grpSpPr>
          <p:pic>
            <p:nvPicPr>
              <p:cNvPr id="20537" name="Picture 144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68431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38" name="Picture 145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619692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39" name="Picture 146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278479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40" name="Picture 147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937253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6" name="Group 148"/>
            <p:cNvGrpSpPr>
              <a:grpSpLocks/>
            </p:cNvGrpSpPr>
            <p:nvPr/>
          </p:nvGrpSpPr>
          <p:grpSpPr bwMode="auto">
            <a:xfrm>
              <a:off x="14730413" y="10323513"/>
              <a:ext cx="2224087" cy="590550"/>
              <a:chOff x="7918600" y="4832650"/>
              <a:chExt cx="2458447" cy="653855"/>
            </a:xfrm>
          </p:grpSpPr>
          <p:sp>
            <p:nvSpPr>
              <p:cNvPr id="150" name="Alternate Process 149"/>
              <p:cNvSpPr/>
              <p:nvPr/>
            </p:nvSpPr>
            <p:spPr>
              <a:xfrm>
                <a:off x="7918600" y="4846711"/>
                <a:ext cx="2458446" cy="629248"/>
              </a:xfrm>
              <a:prstGeom prst="flowChartAlternateProcess">
                <a:avLst/>
              </a:prstGeom>
              <a:solidFill>
                <a:schemeClr val="accent6"/>
              </a:solidFill>
              <a:ln w="19050" cmpd="sng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>
                  <a:solidFill>
                    <a:prstClr val="black"/>
                  </a:solidFill>
                  <a:latin typeface="Arial"/>
                  <a:ea typeface="ヒラギノ角ゴ ProN W3"/>
                  <a:cs typeface="ヒラギノ角ゴ ProN W3"/>
                </a:endParaRPr>
              </a:p>
            </p:txBody>
          </p:sp>
          <p:cxnSp>
            <p:nvCxnSpPr>
              <p:cNvPr id="151" name="Straight Connector 150"/>
              <p:cNvCxnSpPr>
                <a:stCxn id="150" idx="0"/>
                <a:endCxn id="150" idx="2"/>
              </p:cNvCxnSpPr>
              <p:nvPr/>
            </p:nvCxnSpPr>
            <p:spPr>
              <a:xfrm>
                <a:off x="9148700" y="4846711"/>
                <a:ext cx="0" cy="629248"/>
              </a:xfrm>
              <a:prstGeom prst="line">
                <a:avLst/>
              </a:prstGeom>
              <a:ln w="19050" cmpd="sng">
                <a:headEnd type="none"/>
                <a:tailEnd type="none" w="sm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2" name="Straight Connector 151"/>
              <p:cNvCxnSpPr/>
              <p:nvPr/>
            </p:nvCxnSpPr>
            <p:spPr>
              <a:xfrm>
                <a:off x="9785686" y="4832650"/>
                <a:ext cx="0" cy="629248"/>
              </a:xfrm>
              <a:prstGeom prst="line">
                <a:avLst/>
              </a:prstGeom>
              <a:ln w="19050" cmpd="sng">
                <a:headEnd type="none"/>
                <a:tailEnd type="none" w="sm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3" name="Straight Connector 152"/>
              <p:cNvCxnSpPr/>
              <p:nvPr/>
            </p:nvCxnSpPr>
            <p:spPr>
              <a:xfrm>
                <a:off x="8548565" y="4857257"/>
                <a:ext cx="0" cy="629248"/>
              </a:xfrm>
              <a:prstGeom prst="line">
                <a:avLst/>
              </a:prstGeom>
              <a:ln w="19050" cmpd="sng">
                <a:headEnd type="none"/>
                <a:tailEnd type="none" w="sm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</p:grpSp>
        <p:cxnSp>
          <p:nvCxnSpPr>
            <p:cNvPr id="155" name="Straight Arrow Connector 154"/>
            <p:cNvCxnSpPr>
              <a:stCxn id="135" idx="2"/>
              <a:endCxn id="150" idx="0"/>
            </p:cNvCxnSpPr>
            <p:nvPr/>
          </p:nvCxnSpPr>
          <p:spPr bwMode="auto">
            <a:xfrm flipH="1">
              <a:off x="15843250" y="8621713"/>
              <a:ext cx="20638" cy="1714500"/>
            </a:xfrm>
            <a:prstGeom prst="straightConnector1">
              <a:avLst/>
            </a:prstGeom>
            <a:solidFill>
              <a:srgbClr val="000000"/>
            </a:solidFill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sp>
        <p:nvSpPr>
          <p:cNvPr id="163" name="Rounded Rectangular Callout 162"/>
          <p:cNvSpPr/>
          <p:nvPr/>
        </p:nvSpPr>
        <p:spPr>
          <a:xfrm>
            <a:off x="2383632" y="2438400"/>
            <a:ext cx="6119019" cy="533400"/>
          </a:xfrm>
          <a:prstGeom prst="wedgeRoundRectCallout">
            <a:avLst>
              <a:gd name="adj1" fmla="val -26503"/>
              <a:gd name="adj2" fmla="val -108217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b="1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transformation</a:t>
            </a:r>
            <a:r>
              <a:rPr lang="en-US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: modify data in one </a:t>
            </a:r>
            <a:r>
              <a:rPr lang="en-US" dirty="0" err="1" smtClean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DStream</a:t>
            </a:r>
            <a:r>
              <a:rPr lang="en-US" dirty="0" smtClean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 </a:t>
            </a:r>
            <a:r>
              <a:rPr lang="en-US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to create another </a:t>
            </a:r>
            <a:r>
              <a:rPr lang="en-US" dirty="0" err="1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DStream</a:t>
            </a:r>
            <a:r>
              <a:rPr lang="en-US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 </a:t>
            </a:r>
          </a:p>
        </p:txBody>
      </p:sp>
      <p:sp>
        <p:nvSpPr>
          <p:cNvPr id="165" name="Rounded Rectangular Callout 164"/>
          <p:cNvSpPr/>
          <p:nvPr/>
        </p:nvSpPr>
        <p:spPr>
          <a:xfrm>
            <a:off x="567532" y="2438400"/>
            <a:ext cx="1578769" cy="533400"/>
          </a:xfrm>
          <a:prstGeom prst="wedgeRoundRectCallout">
            <a:avLst>
              <a:gd name="adj1" fmla="val -14849"/>
              <a:gd name="adj2" fmla="val -98253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new </a:t>
            </a:r>
            <a:r>
              <a:rPr lang="en-US" dirty="0" err="1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DStream</a:t>
            </a:r>
            <a:endParaRPr lang="en-US" dirty="0">
              <a:solidFill>
                <a:srgbClr val="000000"/>
              </a:solidFill>
              <a:latin typeface="Calibri"/>
              <a:ea typeface="ヒラギノ角ゴ ProN W3"/>
              <a:cs typeface="Calibri"/>
            </a:endParaRPr>
          </a:p>
        </p:txBody>
      </p:sp>
      <p:sp>
        <p:nvSpPr>
          <p:cNvPr id="167" name="Rounded Rectangular Callout 166"/>
          <p:cNvSpPr/>
          <p:nvPr/>
        </p:nvSpPr>
        <p:spPr>
          <a:xfrm>
            <a:off x="7119938" y="5143500"/>
            <a:ext cx="2105025" cy="685800"/>
          </a:xfrm>
          <a:prstGeom prst="wedgeRoundRectCallout">
            <a:avLst>
              <a:gd name="adj1" fmla="val -59817"/>
              <a:gd name="adj2" fmla="val -22499"/>
              <a:gd name="adj3" fmla="val 16667"/>
            </a:avLst>
          </a:prstGeom>
          <a:ln w="28575" cmpd="sng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sz="1700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new RDDs created for every batch </a:t>
            </a:r>
          </a:p>
        </p:txBody>
      </p:sp>
      <p:grpSp>
        <p:nvGrpSpPr>
          <p:cNvPr id="17" name="Group 7"/>
          <p:cNvGrpSpPr>
            <a:grpSpLocks/>
          </p:cNvGrpSpPr>
          <p:nvPr/>
        </p:nvGrpSpPr>
        <p:grpSpPr bwMode="auto">
          <a:xfrm>
            <a:off x="3163987" y="4019551"/>
            <a:ext cx="904180" cy="296069"/>
            <a:chOff x="7918600" y="4832650"/>
            <a:chExt cx="2458447" cy="653855"/>
          </a:xfrm>
        </p:grpSpPr>
        <p:sp>
          <p:nvSpPr>
            <p:cNvPr id="9" name="Alternate Process 8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0" name="Straight Connector 9"/>
            <p:cNvCxnSpPr>
              <a:stCxn id="9" idx="0"/>
              <a:endCxn id="9" idx="2"/>
            </p:cNvCxnSpPr>
            <p:nvPr/>
          </p:nvCxnSpPr>
          <p:spPr>
            <a:xfrm>
              <a:off x="9147824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9784354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8548117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grpSp>
        <p:nvGrpSpPr>
          <p:cNvPr id="19" name="Group 12"/>
          <p:cNvGrpSpPr>
            <a:grpSpLocks/>
          </p:cNvGrpSpPr>
          <p:nvPr/>
        </p:nvGrpSpPr>
        <p:grpSpPr bwMode="auto">
          <a:xfrm>
            <a:off x="3106589" y="4371181"/>
            <a:ext cx="1062187" cy="380206"/>
            <a:chOff x="7762239" y="5609988"/>
            <a:chExt cx="2889827" cy="840669"/>
          </a:xfrm>
        </p:grpSpPr>
        <p:pic>
          <p:nvPicPr>
            <p:cNvPr id="20520" name="Picture 13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2239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21" name="Picture 14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1349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22" name="Picture 15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7228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23" name="Picture 16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1061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0" name="Group 103"/>
          <p:cNvGrpSpPr>
            <a:grpSpLocks/>
          </p:cNvGrpSpPr>
          <p:nvPr/>
        </p:nvGrpSpPr>
        <p:grpSpPr bwMode="auto">
          <a:xfrm>
            <a:off x="3095625" y="3269456"/>
            <a:ext cx="4953000" cy="516731"/>
            <a:chOff x="3523416" y="4511948"/>
            <a:chExt cx="1861716" cy="322227"/>
          </a:xfrm>
        </p:grpSpPr>
        <p:sp>
          <p:nvSpPr>
            <p:cNvPr id="105" name="Right Arrow 104"/>
            <p:cNvSpPr/>
            <p:nvPr/>
          </p:nvSpPr>
          <p:spPr>
            <a:xfrm>
              <a:off x="5122601" y="4511948"/>
              <a:ext cx="262531" cy="322227"/>
            </a:xfrm>
            <a:prstGeom prst="rightArrow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500" kern="0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endParaRPr>
            </a:p>
          </p:txBody>
        </p:sp>
        <p:sp>
          <p:nvSpPr>
            <p:cNvPr id="106" name="Rectangle 105"/>
            <p:cNvSpPr/>
            <p:nvPr/>
          </p:nvSpPr>
          <p:spPr>
            <a:xfrm>
              <a:off x="4055750" y="4600053"/>
              <a:ext cx="408705" cy="155421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500" kern="0" dirty="0">
                  <a:solidFill>
                    <a:prstClr val="black"/>
                  </a:solidFill>
                  <a:latin typeface="Calibri"/>
                  <a:ea typeface="ヒラギノ角ゴ ProN W3"/>
                  <a:cs typeface="ヒラギノ角ゴ ProN W3"/>
                </a:rPr>
                <a:t>batch @ t+1</a:t>
              </a:r>
            </a:p>
          </p:txBody>
        </p:sp>
        <p:sp>
          <p:nvSpPr>
            <p:cNvPr id="107" name="Rectangle 106"/>
            <p:cNvSpPr/>
            <p:nvPr/>
          </p:nvSpPr>
          <p:spPr>
            <a:xfrm>
              <a:off x="3523416" y="4603518"/>
              <a:ext cx="408705" cy="155421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500" kern="0" dirty="0">
                  <a:solidFill>
                    <a:prstClr val="black"/>
                  </a:solidFill>
                  <a:latin typeface="Calibri"/>
                  <a:ea typeface="ヒラギノ角ゴ ProN W3"/>
                  <a:cs typeface="ヒラギノ角ゴ ProN W3"/>
                </a:rPr>
                <a:t>b</a:t>
              </a:r>
              <a:r>
                <a:rPr lang="en-US" sz="1500" kern="0" dirty="0" err="1">
                  <a:solidFill>
                    <a:prstClr val="black"/>
                  </a:solidFill>
                  <a:latin typeface="Calibri"/>
                  <a:ea typeface="ヒラギノ角ゴ ProN W3"/>
                  <a:cs typeface="ヒラギノ角ゴ ProN W3"/>
                </a:rPr>
                <a:t>atch</a:t>
              </a:r>
              <a:r>
                <a:rPr lang="en-US" sz="1500" kern="0" dirty="0">
                  <a:solidFill>
                    <a:prstClr val="black"/>
                  </a:solidFill>
                  <a:latin typeface="Calibri"/>
                  <a:ea typeface="ヒラギノ角ゴ ProN W3"/>
                  <a:cs typeface="ヒラギノ角ゴ ProN W3"/>
                </a:rPr>
                <a:t> @ t</a:t>
              </a:r>
            </a:p>
          </p:txBody>
        </p:sp>
        <p:sp>
          <p:nvSpPr>
            <p:cNvPr id="108" name="Rectangle 107"/>
            <p:cNvSpPr/>
            <p:nvPr/>
          </p:nvSpPr>
          <p:spPr>
            <a:xfrm>
              <a:off x="4587600" y="4603518"/>
              <a:ext cx="408705" cy="155421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500" kern="0" dirty="0">
                  <a:solidFill>
                    <a:prstClr val="black"/>
                  </a:solidFill>
                  <a:latin typeface="Calibri"/>
                  <a:ea typeface="ヒラギノ角ゴ ProN W3"/>
                  <a:cs typeface="ヒラギノ角ゴ ProN W3"/>
                </a:rPr>
                <a:t>batch @ t+2</a:t>
              </a:r>
            </a:p>
          </p:txBody>
        </p:sp>
      </p:grpSp>
      <p:grpSp>
        <p:nvGrpSpPr>
          <p:cNvPr id="21" name="Group 111"/>
          <p:cNvGrpSpPr>
            <a:grpSpLocks/>
          </p:cNvGrpSpPr>
          <p:nvPr/>
        </p:nvGrpSpPr>
        <p:grpSpPr bwMode="auto">
          <a:xfrm>
            <a:off x="4592490" y="4019551"/>
            <a:ext cx="904180" cy="296069"/>
            <a:chOff x="7918600" y="4832650"/>
            <a:chExt cx="2458447" cy="653855"/>
          </a:xfrm>
        </p:grpSpPr>
        <p:sp>
          <p:nvSpPr>
            <p:cNvPr id="113" name="Alternate Process 112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14" name="Straight Connector 113"/>
            <p:cNvCxnSpPr>
              <a:stCxn id="113" idx="0"/>
              <a:endCxn id="113" idx="2"/>
            </p:cNvCxnSpPr>
            <p:nvPr/>
          </p:nvCxnSpPr>
          <p:spPr>
            <a:xfrm>
              <a:off x="9147823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15" name="Straight Connector 114"/>
            <p:cNvCxnSpPr/>
            <p:nvPr/>
          </p:nvCxnSpPr>
          <p:spPr>
            <a:xfrm>
              <a:off x="9784354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16" name="Straight Connector 115"/>
            <p:cNvCxnSpPr/>
            <p:nvPr/>
          </p:nvCxnSpPr>
          <p:spPr>
            <a:xfrm>
              <a:off x="854811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grpSp>
        <p:nvGrpSpPr>
          <p:cNvPr id="22" name="Group 116"/>
          <p:cNvGrpSpPr>
            <a:grpSpLocks/>
          </p:cNvGrpSpPr>
          <p:nvPr/>
        </p:nvGrpSpPr>
        <p:grpSpPr bwMode="auto">
          <a:xfrm>
            <a:off x="4535091" y="4371181"/>
            <a:ext cx="1062187" cy="380206"/>
            <a:chOff x="7762239" y="5609988"/>
            <a:chExt cx="2889827" cy="840669"/>
          </a:xfrm>
        </p:grpSpPr>
        <p:pic>
          <p:nvPicPr>
            <p:cNvPr id="20508" name="Picture 117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2239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09" name="Picture 118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1349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10" name="Picture 119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7228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11" name="Picture 120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1061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3" name="Group 133"/>
          <p:cNvGrpSpPr>
            <a:grpSpLocks/>
          </p:cNvGrpSpPr>
          <p:nvPr/>
        </p:nvGrpSpPr>
        <p:grpSpPr bwMode="auto">
          <a:xfrm>
            <a:off x="5993259" y="4019551"/>
            <a:ext cx="903536" cy="296069"/>
            <a:chOff x="7918600" y="4832650"/>
            <a:chExt cx="2458447" cy="653855"/>
          </a:xfrm>
        </p:grpSpPr>
        <p:sp>
          <p:nvSpPr>
            <p:cNvPr id="135" name="Alternate Process 134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36" name="Straight Connector 135"/>
            <p:cNvCxnSpPr>
              <a:stCxn id="135" idx="0"/>
              <a:endCxn id="135" idx="2"/>
            </p:cNvCxnSpPr>
            <p:nvPr/>
          </p:nvCxnSpPr>
          <p:spPr>
            <a:xfrm>
              <a:off x="9148701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37" name="Straight Connector 136"/>
            <p:cNvCxnSpPr/>
            <p:nvPr/>
          </p:nvCxnSpPr>
          <p:spPr>
            <a:xfrm>
              <a:off x="9785687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38" name="Straight Connector 137"/>
            <p:cNvCxnSpPr/>
            <p:nvPr/>
          </p:nvCxnSpPr>
          <p:spPr>
            <a:xfrm>
              <a:off x="854856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grpSp>
        <p:nvGrpSpPr>
          <p:cNvPr id="24" name="Group 138"/>
          <p:cNvGrpSpPr>
            <a:grpSpLocks/>
          </p:cNvGrpSpPr>
          <p:nvPr/>
        </p:nvGrpSpPr>
        <p:grpSpPr bwMode="auto">
          <a:xfrm>
            <a:off x="5935861" y="4371181"/>
            <a:ext cx="1062187" cy="380206"/>
            <a:chOff x="7762239" y="5609988"/>
            <a:chExt cx="2889827" cy="840669"/>
          </a:xfrm>
        </p:grpSpPr>
        <p:pic>
          <p:nvPicPr>
            <p:cNvPr id="20500" name="Picture 139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2239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01" name="Picture 140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1349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02" name="Picture 141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7228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03" name="Picture 142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1061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0499" name="Rectangle 155"/>
          <p:cNvSpPr>
            <a:spLocks noChangeArrowheads="1"/>
          </p:cNvSpPr>
          <p:nvPr/>
        </p:nvSpPr>
        <p:spPr bwMode="auto">
          <a:xfrm>
            <a:off x="789067" y="3950839"/>
            <a:ext cx="2043113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tweets </a:t>
            </a:r>
            <a:r>
              <a:rPr lang="en-US" dirty="0" err="1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DStream</a:t>
            </a:r>
            <a:endParaRPr lang="en-US" dirty="0">
              <a:solidFill>
                <a:prstClr val="black"/>
              </a:solidFill>
              <a:latin typeface="Calibri" charset="0"/>
              <a:ea typeface="ヒラギノ角ゴ ProN W3"/>
              <a:cs typeface="Calibri" charset="0"/>
            </a:endParaRPr>
          </a:p>
        </p:txBody>
      </p:sp>
      <p:sp>
        <p:nvSpPr>
          <p:cNvPr id="86" name="Rectangle 155"/>
          <p:cNvSpPr>
            <a:spLocks noChangeArrowheads="1"/>
          </p:cNvSpPr>
          <p:nvPr/>
        </p:nvSpPr>
        <p:spPr bwMode="auto">
          <a:xfrm>
            <a:off x="823041" y="5105400"/>
            <a:ext cx="2043113" cy="56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405" tIns="19202" rIns="38405" bIns="19202">
            <a:spAutoFit/>
          </a:bodyPr>
          <a:lstStyle/>
          <a:p>
            <a:r>
              <a:rPr lang="en-US" dirty="0" err="1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hashTags</a:t>
            </a:r>
            <a:r>
              <a:rPr lang="en-US" dirty="0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Dstream</a:t>
            </a:r>
            <a:endParaRPr lang="en-US" dirty="0">
              <a:solidFill>
                <a:prstClr val="black"/>
              </a:solidFill>
              <a:latin typeface="Calibri" charset="0"/>
              <a:ea typeface="ヒラギノ角ゴ ProN W3"/>
              <a:cs typeface="Calibri" charset="0"/>
            </a:endParaRPr>
          </a:p>
          <a:p>
            <a:r>
              <a:rPr lang="en-US" sz="1500" dirty="0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[#cat, #dog, … ]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533400" y="6139934"/>
            <a:ext cx="80342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Source:datadricks</a:t>
            </a:r>
            <a:endParaRPr lang="en-US" sz="6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105024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" grpId="0" animBg="1"/>
      <p:bldP spid="165" grpId="0" animBg="1"/>
      <p:bldP spid="167" grpId="0" animBg="1"/>
      <p:bldP spid="8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  <a:defRPr/>
            </a:pP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val</a:t>
            </a:r>
            <a:r>
              <a:rPr lang="en-US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 tweets = </a:t>
            </a: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ssc.twitterStream</a:t>
            </a:r>
            <a:r>
              <a:rPr lang="en-US" sz="17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()</a:t>
            </a:r>
            <a:endParaRPr lang="en-US" sz="1700" dirty="0">
              <a:solidFill>
                <a:schemeClr val="tx1">
                  <a:lumMod val="50000"/>
                  <a:lumOff val="50000"/>
                </a:schemeClr>
              </a:solidFill>
              <a:latin typeface="Consolas"/>
              <a:cs typeface="Consolas"/>
            </a:endParaRPr>
          </a:p>
          <a:p>
            <a:pPr marL="0" indent="0">
              <a:buNone/>
              <a:defRPr/>
            </a:pPr>
            <a:r>
              <a:rPr lang="en-US" sz="1700" dirty="0" err="1">
                <a:solidFill>
                  <a:srgbClr val="7F7F7F"/>
                </a:solidFill>
                <a:latin typeface="Consolas"/>
                <a:cs typeface="Consolas"/>
              </a:rPr>
              <a:t>val</a:t>
            </a:r>
            <a:r>
              <a:rPr lang="en-US" sz="1700" dirty="0">
                <a:solidFill>
                  <a:srgbClr val="7F7F7F"/>
                </a:solidFill>
                <a:latin typeface="Consolas"/>
                <a:cs typeface="Consolas"/>
              </a:rPr>
              <a:t> </a:t>
            </a:r>
            <a:r>
              <a:rPr lang="en-US" sz="1700" dirty="0" err="1">
                <a:solidFill>
                  <a:srgbClr val="7F7F7F"/>
                </a:solidFill>
                <a:latin typeface="Consolas"/>
                <a:cs typeface="Consolas"/>
              </a:rPr>
              <a:t>hashTags</a:t>
            </a:r>
            <a:r>
              <a:rPr lang="en-US" sz="1700" dirty="0">
                <a:solidFill>
                  <a:srgbClr val="7F7F7F"/>
                </a:solidFill>
                <a:latin typeface="Consolas"/>
                <a:cs typeface="Consolas"/>
              </a:rPr>
              <a:t> = </a:t>
            </a:r>
            <a:r>
              <a:rPr lang="en-US" sz="1700" dirty="0" err="1">
                <a:solidFill>
                  <a:srgbClr val="7F7F7F"/>
                </a:solidFill>
                <a:latin typeface="Consolas"/>
                <a:cs typeface="Consolas"/>
              </a:rPr>
              <a:t>tweets.flatMap</a:t>
            </a:r>
            <a:r>
              <a:rPr lang="en-US" sz="1700" dirty="0">
                <a:solidFill>
                  <a:srgbClr val="7F7F7F"/>
                </a:solidFill>
                <a:latin typeface="Consolas"/>
                <a:cs typeface="Consolas"/>
              </a:rPr>
              <a:t> (status =&gt; </a:t>
            </a:r>
            <a:r>
              <a:rPr lang="en-US" sz="1700" dirty="0" err="1">
                <a:solidFill>
                  <a:srgbClr val="7F7F7F"/>
                </a:solidFill>
                <a:latin typeface="Consolas"/>
                <a:cs typeface="Consolas"/>
              </a:rPr>
              <a:t>getTags</a:t>
            </a:r>
            <a:r>
              <a:rPr lang="en-US" sz="1700" dirty="0">
                <a:solidFill>
                  <a:srgbClr val="7F7F7F"/>
                </a:solidFill>
                <a:latin typeface="Consolas"/>
                <a:cs typeface="Consolas"/>
              </a:rPr>
              <a:t>(status))</a:t>
            </a:r>
          </a:p>
          <a:p>
            <a:pPr marL="0" indent="0">
              <a:buNone/>
              <a:defRPr/>
            </a:pPr>
            <a:r>
              <a:rPr lang="en-US" sz="1700" dirty="0" err="1">
                <a:solidFill>
                  <a:schemeClr val="accent3"/>
                </a:solidFill>
                <a:latin typeface="Consolas"/>
                <a:cs typeface="Consolas"/>
              </a:rPr>
              <a:t>hashTags</a:t>
            </a:r>
            <a:r>
              <a:rPr lang="en-US" sz="1700" dirty="0" err="1">
                <a:latin typeface="Consolas"/>
                <a:cs typeface="Consolas"/>
              </a:rPr>
              <a:t>.</a:t>
            </a:r>
            <a:r>
              <a:rPr lang="en-US" sz="1700" dirty="0" err="1">
                <a:solidFill>
                  <a:schemeClr val="accent1"/>
                </a:solidFill>
                <a:latin typeface="Consolas"/>
                <a:cs typeface="Consolas"/>
              </a:rPr>
              <a:t>saveAsHadoopFiles</a:t>
            </a:r>
            <a:r>
              <a:rPr lang="en-US" sz="1700" dirty="0">
                <a:latin typeface="Consolas"/>
                <a:cs typeface="Consolas"/>
              </a:rPr>
              <a:t>("</a:t>
            </a:r>
            <a:r>
              <a:rPr lang="en-US" sz="1700" dirty="0" err="1">
                <a:latin typeface="Consolas"/>
                <a:cs typeface="Consolas"/>
              </a:rPr>
              <a:t>hdfs</a:t>
            </a:r>
            <a:r>
              <a:rPr lang="en-US" sz="1700" dirty="0">
                <a:latin typeface="Consolas"/>
                <a:cs typeface="Consolas"/>
              </a:rPr>
              <a:t>://...")</a:t>
            </a:r>
          </a:p>
          <a:p>
            <a:pPr marL="0" indent="0">
              <a:buNone/>
              <a:defRPr/>
            </a:pPr>
            <a:endParaRPr lang="en-US" sz="2500" dirty="0"/>
          </a:p>
          <a:p>
            <a:pPr>
              <a:defRPr/>
            </a:pPr>
            <a:endParaRPr lang="en-US" sz="2000" dirty="0"/>
          </a:p>
        </p:txBody>
      </p:sp>
      <p:sp>
        <p:nvSpPr>
          <p:cNvPr id="164" name="Rounded Rectangular Callout 163"/>
          <p:cNvSpPr/>
          <p:nvPr/>
        </p:nvSpPr>
        <p:spPr>
          <a:xfrm>
            <a:off x="2817019" y="2590800"/>
            <a:ext cx="5489116" cy="571500"/>
          </a:xfrm>
          <a:prstGeom prst="wedgeRoundRectCallout">
            <a:avLst>
              <a:gd name="adj1" fmla="val -56824"/>
              <a:gd name="adj2" fmla="val -52520"/>
              <a:gd name="adj3" fmla="val 16667"/>
            </a:avLst>
          </a:prstGeom>
          <a:ln w="28575" cmpd="sng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b="1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output operation</a:t>
            </a:r>
            <a:r>
              <a:rPr lang="en-US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: to push data to external storage</a:t>
            </a:r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3163987" y="3810001"/>
            <a:ext cx="904180" cy="296069"/>
            <a:chOff x="7918600" y="4832650"/>
            <a:chExt cx="2458447" cy="653855"/>
          </a:xfrm>
        </p:grpSpPr>
        <p:sp>
          <p:nvSpPr>
            <p:cNvPr id="9" name="Alternate Process 8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0" name="Straight Connector 9"/>
            <p:cNvCxnSpPr>
              <a:stCxn id="9" idx="0"/>
              <a:endCxn id="9" idx="2"/>
            </p:cNvCxnSpPr>
            <p:nvPr/>
          </p:nvCxnSpPr>
          <p:spPr>
            <a:xfrm>
              <a:off x="9147824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9784354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8548117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grpSp>
        <p:nvGrpSpPr>
          <p:cNvPr id="3" name="Group 23"/>
          <p:cNvGrpSpPr>
            <a:grpSpLocks/>
          </p:cNvGrpSpPr>
          <p:nvPr/>
        </p:nvGrpSpPr>
        <p:grpSpPr bwMode="auto">
          <a:xfrm>
            <a:off x="3155603" y="4599783"/>
            <a:ext cx="903536" cy="296069"/>
            <a:chOff x="7918600" y="4832650"/>
            <a:chExt cx="2458447" cy="653855"/>
          </a:xfrm>
        </p:grpSpPr>
        <p:sp>
          <p:nvSpPr>
            <p:cNvPr id="25" name="Alternate Process 24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26" name="Straight Connector 25"/>
            <p:cNvCxnSpPr>
              <a:stCxn id="25" idx="0"/>
              <a:endCxn id="25" idx="2"/>
            </p:cNvCxnSpPr>
            <p:nvPr/>
          </p:nvCxnSpPr>
          <p:spPr>
            <a:xfrm>
              <a:off x="9148701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9785687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854856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</p:grpSp>
      <p:sp>
        <p:nvSpPr>
          <p:cNvPr id="63" name="TextBox 62"/>
          <p:cNvSpPr txBox="1"/>
          <p:nvPr/>
        </p:nvSpPr>
        <p:spPr bwMode="auto">
          <a:xfrm>
            <a:off x="3656339" y="4248151"/>
            <a:ext cx="1013818" cy="200055"/>
          </a:xfrm>
          <a:prstGeom prst="rect">
            <a:avLst/>
          </a:prstGeom>
          <a:noFill/>
        </p:spPr>
        <p:txBody>
          <a:bodyPr wrap="square" lIns="38405" tIns="0" rIns="38405" bIns="0">
            <a:spAutoFit/>
          </a:bodyPr>
          <a:lstStyle/>
          <a:p>
            <a:pPr>
              <a:defRPr/>
            </a:pPr>
            <a:r>
              <a:rPr lang="en-US" sz="1300" dirty="0" err="1">
                <a:solidFill>
                  <a:prstClr val="black"/>
                </a:solidFill>
                <a:latin typeface="Arial"/>
                <a:ea typeface="ヒラギノ角ゴ ProN W3"/>
                <a:cs typeface="Tw Cen MT"/>
              </a:rPr>
              <a:t>flatMap</a:t>
            </a:r>
            <a:endParaRPr lang="en-US" sz="1300" dirty="0">
              <a:solidFill>
                <a:prstClr val="black"/>
              </a:solidFill>
              <a:latin typeface="Arial"/>
              <a:ea typeface="ヒラギノ角ゴ ProN W3"/>
              <a:cs typeface="Tw Cen MT"/>
            </a:endParaRPr>
          </a:p>
        </p:txBody>
      </p:sp>
      <p:cxnSp>
        <p:nvCxnSpPr>
          <p:cNvPr id="109" name="Straight Arrow Connector 108"/>
          <p:cNvCxnSpPr>
            <a:stCxn id="9" idx="2"/>
            <a:endCxn id="25" idx="0"/>
          </p:cNvCxnSpPr>
          <p:nvPr/>
        </p:nvCxnSpPr>
        <p:spPr bwMode="auto">
          <a:xfrm flipH="1">
            <a:off x="3607048" y="4101308"/>
            <a:ext cx="9029" cy="505619"/>
          </a:xfrm>
          <a:prstGeom prst="straightConnector1">
            <a:avLst/>
          </a:prstGeom>
          <a:solidFill>
            <a:srgbClr val="00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6" name="Group 111"/>
          <p:cNvGrpSpPr>
            <a:grpSpLocks/>
          </p:cNvGrpSpPr>
          <p:nvPr/>
        </p:nvGrpSpPr>
        <p:grpSpPr bwMode="auto">
          <a:xfrm>
            <a:off x="4592490" y="3810001"/>
            <a:ext cx="904180" cy="296069"/>
            <a:chOff x="7918600" y="4832650"/>
            <a:chExt cx="2458447" cy="653855"/>
          </a:xfrm>
        </p:grpSpPr>
        <p:sp>
          <p:nvSpPr>
            <p:cNvPr id="113" name="Alternate Process 112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14" name="Straight Connector 113"/>
            <p:cNvCxnSpPr>
              <a:stCxn id="113" idx="0"/>
              <a:endCxn id="113" idx="2"/>
            </p:cNvCxnSpPr>
            <p:nvPr/>
          </p:nvCxnSpPr>
          <p:spPr>
            <a:xfrm>
              <a:off x="9147823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15" name="Straight Connector 114"/>
            <p:cNvCxnSpPr/>
            <p:nvPr/>
          </p:nvCxnSpPr>
          <p:spPr>
            <a:xfrm>
              <a:off x="9784354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16" name="Straight Connector 115"/>
            <p:cNvCxnSpPr/>
            <p:nvPr/>
          </p:nvCxnSpPr>
          <p:spPr>
            <a:xfrm>
              <a:off x="854811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grpSp>
        <p:nvGrpSpPr>
          <p:cNvPr id="7" name="Group 126"/>
          <p:cNvGrpSpPr>
            <a:grpSpLocks/>
          </p:cNvGrpSpPr>
          <p:nvPr/>
        </p:nvGrpSpPr>
        <p:grpSpPr bwMode="auto">
          <a:xfrm>
            <a:off x="4584105" y="4599783"/>
            <a:ext cx="903536" cy="296069"/>
            <a:chOff x="7918600" y="4832650"/>
            <a:chExt cx="2458447" cy="653855"/>
          </a:xfrm>
        </p:grpSpPr>
        <p:sp>
          <p:nvSpPr>
            <p:cNvPr id="128" name="Alternate Process 127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29" name="Straight Connector 128"/>
            <p:cNvCxnSpPr>
              <a:stCxn id="128" idx="0"/>
              <a:endCxn id="128" idx="2"/>
            </p:cNvCxnSpPr>
            <p:nvPr/>
          </p:nvCxnSpPr>
          <p:spPr>
            <a:xfrm>
              <a:off x="9148701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130" name="Straight Connector 129"/>
            <p:cNvCxnSpPr/>
            <p:nvPr/>
          </p:nvCxnSpPr>
          <p:spPr>
            <a:xfrm>
              <a:off x="9785686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131" name="Straight Connector 130"/>
            <p:cNvCxnSpPr/>
            <p:nvPr/>
          </p:nvCxnSpPr>
          <p:spPr>
            <a:xfrm>
              <a:off x="854856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</p:grpSp>
      <p:sp>
        <p:nvSpPr>
          <p:cNvPr id="132" name="TextBox 131"/>
          <p:cNvSpPr txBox="1"/>
          <p:nvPr/>
        </p:nvSpPr>
        <p:spPr bwMode="auto">
          <a:xfrm>
            <a:off x="5084842" y="4248151"/>
            <a:ext cx="1013818" cy="200055"/>
          </a:xfrm>
          <a:prstGeom prst="rect">
            <a:avLst/>
          </a:prstGeom>
          <a:noFill/>
        </p:spPr>
        <p:txBody>
          <a:bodyPr wrap="square" lIns="38405" tIns="0" rIns="38405" bIns="0">
            <a:spAutoFit/>
          </a:bodyPr>
          <a:lstStyle/>
          <a:p>
            <a:pPr>
              <a:defRPr/>
            </a:pPr>
            <a:r>
              <a:rPr lang="en-US" sz="1300" dirty="0" err="1">
                <a:solidFill>
                  <a:prstClr val="black"/>
                </a:solidFill>
                <a:latin typeface="Arial"/>
                <a:ea typeface="ヒラギノ角ゴ ProN W3"/>
                <a:cs typeface="Tw Cen MT"/>
              </a:rPr>
              <a:t>flatMap</a:t>
            </a:r>
            <a:endParaRPr lang="en-US" sz="1300" dirty="0">
              <a:solidFill>
                <a:prstClr val="black"/>
              </a:solidFill>
              <a:latin typeface="Arial"/>
              <a:ea typeface="ヒラギノ角ゴ ProN W3"/>
              <a:cs typeface="Tw Cen MT"/>
            </a:endParaRPr>
          </a:p>
        </p:txBody>
      </p:sp>
      <p:cxnSp>
        <p:nvCxnSpPr>
          <p:cNvPr id="133" name="Straight Arrow Connector 132"/>
          <p:cNvCxnSpPr>
            <a:stCxn id="113" idx="2"/>
            <a:endCxn id="128" idx="0"/>
          </p:cNvCxnSpPr>
          <p:nvPr/>
        </p:nvCxnSpPr>
        <p:spPr bwMode="auto">
          <a:xfrm flipH="1">
            <a:off x="5035550" y="4101308"/>
            <a:ext cx="9029" cy="505619"/>
          </a:xfrm>
          <a:prstGeom prst="straightConnector1">
            <a:avLst/>
          </a:prstGeom>
          <a:solidFill>
            <a:srgbClr val="00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8" name="Group 133"/>
          <p:cNvGrpSpPr>
            <a:grpSpLocks/>
          </p:cNvGrpSpPr>
          <p:nvPr/>
        </p:nvGrpSpPr>
        <p:grpSpPr bwMode="auto">
          <a:xfrm>
            <a:off x="5993259" y="3810001"/>
            <a:ext cx="903536" cy="296069"/>
            <a:chOff x="7918600" y="4832650"/>
            <a:chExt cx="2458447" cy="653855"/>
          </a:xfrm>
        </p:grpSpPr>
        <p:sp>
          <p:nvSpPr>
            <p:cNvPr id="135" name="Alternate Process 134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36" name="Straight Connector 135"/>
            <p:cNvCxnSpPr>
              <a:stCxn id="135" idx="0"/>
              <a:endCxn id="135" idx="2"/>
            </p:cNvCxnSpPr>
            <p:nvPr/>
          </p:nvCxnSpPr>
          <p:spPr>
            <a:xfrm>
              <a:off x="9148701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37" name="Straight Connector 136"/>
            <p:cNvCxnSpPr/>
            <p:nvPr/>
          </p:nvCxnSpPr>
          <p:spPr>
            <a:xfrm>
              <a:off x="9785687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38" name="Straight Connector 137"/>
            <p:cNvCxnSpPr/>
            <p:nvPr/>
          </p:nvCxnSpPr>
          <p:spPr>
            <a:xfrm>
              <a:off x="854856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grpSp>
        <p:nvGrpSpPr>
          <p:cNvPr id="13" name="Group 148"/>
          <p:cNvGrpSpPr>
            <a:grpSpLocks/>
          </p:cNvGrpSpPr>
          <p:nvPr/>
        </p:nvGrpSpPr>
        <p:grpSpPr bwMode="auto">
          <a:xfrm>
            <a:off x="5984231" y="4599783"/>
            <a:ext cx="903536" cy="296069"/>
            <a:chOff x="7918600" y="4832650"/>
            <a:chExt cx="2458447" cy="653855"/>
          </a:xfrm>
        </p:grpSpPr>
        <p:sp>
          <p:nvSpPr>
            <p:cNvPr id="150" name="Alternate Process 149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51" name="Straight Connector 150"/>
            <p:cNvCxnSpPr>
              <a:stCxn id="150" idx="0"/>
              <a:endCxn id="150" idx="2"/>
            </p:cNvCxnSpPr>
            <p:nvPr/>
          </p:nvCxnSpPr>
          <p:spPr>
            <a:xfrm>
              <a:off x="9148701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152" name="Straight Connector 151"/>
            <p:cNvCxnSpPr/>
            <p:nvPr/>
          </p:nvCxnSpPr>
          <p:spPr>
            <a:xfrm>
              <a:off x="9785687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153" name="Straight Connector 152"/>
            <p:cNvCxnSpPr/>
            <p:nvPr/>
          </p:nvCxnSpPr>
          <p:spPr>
            <a:xfrm>
              <a:off x="854856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</p:grpSp>
      <p:sp>
        <p:nvSpPr>
          <p:cNvPr id="154" name="TextBox 153"/>
          <p:cNvSpPr txBox="1"/>
          <p:nvPr/>
        </p:nvSpPr>
        <p:spPr bwMode="auto">
          <a:xfrm>
            <a:off x="6484967" y="4248151"/>
            <a:ext cx="1013818" cy="200055"/>
          </a:xfrm>
          <a:prstGeom prst="rect">
            <a:avLst/>
          </a:prstGeom>
          <a:noFill/>
        </p:spPr>
        <p:txBody>
          <a:bodyPr wrap="square" lIns="38405" tIns="0" rIns="38405" bIns="0">
            <a:spAutoFit/>
          </a:bodyPr>
          <a:lstStyle/>
          <a:p>
            <a:pPr>
              <a:defRPr/>
            </a:pPr>
            <a:r>
              <a:rPr lang="en-US" sz="1300" dirty="0" err="1">
                <a:solidFill>
                  <a:prstClr val="black"/>
                </a:solidFill>
                <a:latin typeface="Arial"/>
                <a:ea typeface="ヒラギノ角ゴ ProN W3"/>
                <a:cs typeface="Tw Cen MT"/>
              </a:rPr>
              <a:t>flatMap</a:t>
            </a:r>
            <a:endParaRPr lang="en-US" sz="1300" dirty="0">
              <a:solidFill>
                <a:prstClr val="black"/>
              </a:solidFill>
              <a:latin typeface="Arial"/>
              <a:ea typeface="ヒラギノ角ゴ ProN W3"/>
              <a:cs typeface="Tw Cen MT"/>
            </a:endParaRPr>
          </a:p>
        </p:txBody>
      </p:sp>
      <p:cxnSp>
        <p:nvCxnSpPr>
          <p:cNvPr id="155" name="Straight Arrow Connector 154"/>
          <p:cNvCxnSpPr>
            <a:stCxn id="135" idx="2"/>
            <a:endCxn id="150" idx="0"/>
          </p:cNvCxnSpPr>
          <p:nvPr/>
        </p:nvCxnSpPr>
        <p:spPr bwMode="auto">
          <a:xfrm flipH="1">
            <a:off x="6436321" y="4101308"/>
            <a:ext cx="8384" cy="505619"/>
          </a:xfrm>
          <a:prstGeom prst="straightConnector1">
            <a:avLst/>
          </a:prstGeom>
          <a:solidFill>
            <a:srgbClr val="00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14" name="Group 5"/>
          <p:cNvGrpSpPr>
            <a:grpSpLocks/>
          </p:cNvGrpSpPr>
          <p:nvPr/>
        </p:nvGrpSpPr>
        <p:grpSpPr bwMode="auto">
          <a:xfrm>
            <a:off x="3250407" y="4901408"/>
            <a:ext cx="3848894" cy="1042193"/>
            <a:chOff x="8001000" y="9802813"/>
            <a:chExt cx="9474199" cy="2084386"/>
          </a:xfrm>
        </p:grpSpPr>
        <p:cxnSp>
          <p:nvCxnSpPr>
            <p:cNvPr id="85" name="Straight Arrow Connector 84"/>
            <p:cNvCxnSpPr/>
            <p:nvPr/>
          </p:nvCxnSpPr>
          <p:spPr bwMode="auto">
            <a:xfrm flipH="1">
              <a:off x="8863013" y="9802813"/>
              <a:ext cx="22225" cy="1011237"/>
            </a:xfrm>
            <a:prstGeom prst="straightConnector1">
              <a:avLst/>
            </a:prstGeom>
            <a:solidFill>
              <a:srgbClr val="000000"/>
            </a:solidFill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87" name="Straight Arrow Connector 86"/>
            <p:cNvCxnSpPr/>
            <p:nvPr/>
          </p:nvCxnSpPr>
          <p:spPr bwMode="auto">
            <a:xfrm flipH="1">
              <a:off x="12379325" y="9802813"/>
              <a:ext cx="22225" cy="1011237"/>
            </a:xfrm>
            <a:prstGeom prst="straightConnector1">
              <a:avLst/>
            </a:prstGeom>
            <a:solidFill>
              <a:srgbClr val="000000"/>
            </a:solidFill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89" name="Straight Arrow Connector 88"/>
            <p:cNvCxnSpPr/>
            <p:nvPr/>
          </p:nvCxnSpPr>
          <p:spPr bwMode="auto">
            <a:xfrm flipH="1">
              <a:off x="15827375" y="9802813"/>
              <a:ext cx="20638" cy="1011237"/>
            </a:xfrm>
            <a:prstGeom prst="straightConnector1">
              <a:avLst/>
            </a:prstGeom>
            <a:solidFill>
              <a:srgbClr val="000000"/>
            </a:solidFill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pic>
          <p:nvPicPr>
            <p:cNvPr id="21530" name="Picture 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01000" y="10820401"/>
              <a:ext cx="1752600" cy="10667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531" name="Picture 9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06200" y="10820401"/>
              <a:ext cx="1752600" cy="10667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532" name="Picture 9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011399" y="10820401"/>
              <a:ext cx="1752600" cy="10667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4" name="TextBox 83"/>
            <p:cNvSpPr txBox="1"/>
            <p:nvPr/>
          </p:nvSpPr>
          <p:spPr bwMode="auto">
            <a:xfrm>
              <a:off x="8880475" y="9947275"/>
              <a:ext cx="1631949" cy="400110"/>
            </a:xfrm>
            <a:prstGeom prst="rect">
              <a:avLst/>
            </a:prstGeom>
            <a:noFill/>
          </p:spPr>
          <p:txBody>
            <a:bodyPr tIns="0" bIns="0">
              <a:spAutoFit/>
            </a:bodyPr>
            <a:lstStyle/>
            <a:p>
              <a:pPr>
                <a:defRPr/>
              </a:pPr>
              <a:r>
                <a:rPr lang="en-US" sz="1300" dirty="0">
                  <a:solidFill>
                    <a:prstClr val="black"/>
                  </a:solidFill>
                  <a:latin typeface="Arial"/>
                  <a:ea typeface="ヒラギノ角ゴ ProN W3"/>
                  <a:cs typeface="Tw Cen MT"/>
                </a:rPr>
                <a:t>save</a:t>
              </a:r>
            </a:p>
          </p:txBody>
        </p:sp>
        <p:sp>
          <p:nvSpPr>
            <p:cNvPr id="86" name="TextBox 85"/>
            <p:cNvSpPr txBox="1"/>
            <p:nvPr/>
          </p:nvSpPr>
          <p:spPr bwMode="auto">
            <a:xfrm>
              <a:off x="12396786" y="9947275"/>
              <a:ext cx="1630362" cy="400110"/>
            </a:xfrm>
            <a:prstGeom prst="rect">
              <a:avLst/>
            </a:prstGeom>
            <a:noFill/>
          </p:spPr>
          <p:txBody>
            <a:bodyPr tIns="0" bIns="0">
              <a:spAutoFit/>
            </a:bodyPr>
            <a:lstStyle/>
            <a:p>
              <a:pPr>
                <a:defRPr/>
              </a:pPr>
              <a:r>
                <a:rPr lang="en-US" sz="1300" dirty="0">
                  <a:solidFill>
                    <a:prstClr val="black"/>
                  </a:solidFill>
                  <a:latin typeface="Arial"/>
                  <a:ea typeface="ヒラギノ角ゴ ProN W3"/>
                  <a:cs typeface="Tw Cen MT"/>
                </a:rPr>
                <a:t>save</a:t>
              </a:r>
            </a:p>
          </p:txBody>
        </p:sp>
        <p:sp>
          <p:nvSpPr>
            <p:cNvPr id="88" name="TextBox 87"/>
            <p:cNvSpPr txBox="1"/>
            <p:nvPr/>
          </p:nvSpPr>
          <p:spPr bwMode="auto">
            <a:xfrm>
              <a:off x="15843250" y="9947275"/>
              <a:ext cx="1631949" cy="400110"/>
            </a:xfrm>
            <a:prstGeom prst="rect">
              <a:avLst/>
            </a:prstGeom>
            <a:noFill/>
          </p:spPr>
          <p:txBody>
            <a:bodyPr tIns="0" bIns="0">
              <a:spAutoFit/>
            </a:bodyPr>
            <a:lstStyle/>
            <a:p>
              <a:pPr>
                <a:defRPr/>
              </a:pPr>
              <a:r>
                <a:rPr lang="en-US" sz="1300" dirty="0">
                  <a:solidFill>
                    <a:prstClr val="black"/>
                  </a:solidFill>
                  <a:latin typeface="Arial"/>
                  <a:ea typeface="ヒラギノ角ゴ ProN W3"/>
                  <a:cs typeface="Tw Cen MT"/>
                </a:rPr>
                <a:t>save</a:t>
              </a:r>
            </a:p>
          </p:txBody>
        </p:sp>
      </p:grpSp>
      <p:sp>
        <p:nvSpPr>
          <p:cNvPr id="55" name="Rectangle 54"/>
          <p:cNvSpPr/>
          <p:nvPr/>
        </p:nvSpPr>
        <p:spPr bwMode="auto">
          <a:xfrm>
            <a:off x="4480918" y="3517107"/>
            <a:ext cx="1087338" cy="2492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sz="1500" kern="0" dirty="0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rPr>
              <a:t>batch @ t+1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3064670" y="3522662"/>
            <a:ext cx="1087338" cy="2492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sz="1500" kern="0" dirty="0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rPr>
              <a:t>b</a:t>
            </a:r>
            <a:r>
              <a:rPr lang="en-US" sz="1500" kern="0" dirty="0" err="1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rPr>
              <a:t>atch</a:t>
            </a:r>
            <a:r>
              <a:rPr lang="en-US" sz="1500" kern="0" dirty="0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rPr>
              <a:t> @ t</a:t>
            </a:r>
          </a:p>
        </p:txBody>
      </p:sp>
      <p:sp>
        <p:nvSpPr>
          <p:cNvPr id="57" name="Rectangle 56"/>
          <p:cNvSpPr/>
          <p:nvPr/>
        </p:nvSpPr>
        <p:spPr bwMode="auto">
          <a:xfrm>
            <a:off x="5895877" y="3522662"/>
            <a:ext cx="1087338" cy="2492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sz="1500" kern="0" dirty="0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rPr>
              <a:t>batch @ t+2</a:t>
            </a:r>
          </a:p>
        </p:txBody>
      </p:sp>
      <p:sp>
        <p:nvSpPr>
          <p:cNvPr id="21524" name="Rectangle 155"/>
          <p:cNvSpPr>
            <a:spLocks noChangeArrowheads="1"/>
          </p:cNvSpPr>
          <p:nvPr/>
        </p:nvSpPr>
        <p:spPr bwMode="auto">
          <a:xfrm>
            <a:off x="846137" y="3733800"/>
            <a:ext cx="2043113" cy="33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405" tIns="19202" rIns="38405" bIns="19202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tweets </a:t>
            </a:r>
            <a:r>
              <a:rPr lang="en-US" dirty="0" err="1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DStream</a:t>
            </a:r>
            <a:endParaRPr lang="en-US" dirty="0">
              <a:solidFill>
                <a:prstClr val="black"/>
              </a:solidFill>
              <a:latin typeface="Calibri" charset="0"/>
              <a:ea typeface="ヒラギノ角ゴ ProN W3"/>
              <a:cs typeface="Calibri" charset="0"/>
            </a:endParaRPr>
          </a:p>
        </p:txBody>
      </p:sp>
      <p:sp>
        <p:nvSpPr>
          <p:cNvPr id="21525" name="Rectangle 155"/>
          <p:cNvSpPr>
            <a:spLocks noChangeArrowheads="1"/>
          </p:cNvSpPr>
          <p:nvPr/>
        </p:nvSpPr>
        <p:spPr bwMode="auto">
          <a:xfrm>
            <a:off x="846137" y="4533900"/>
            <a:ext cx="2043113" cy="33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405" tIns="19202" rIns="38405" bIns="19202">
            <a:spAutoFit/>
          </a:bodyPr>
          <a:lstStyle/>
          <a:p>
            <a:r>
              <a:rPr lang="en-US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hashTags DStream</a:t>
            </a:r>
          </a:p>
        </p:txBody>
      </p:sp>
      <p:sp>
        <p:nvSpPr>
          <p:cNvPr id="62" name="Rounded Rectangular Callout 61"/>
          <p:cNvSpPr/>
          <p:nvPr/>
        </p:nvSpPr>
        <p:spPr>
          <a:xfrm>
            <a:off x="7099300" y="5410200"/>
            <a:ext cx="1733550" cy="685800"/>
          </a:xfrm>
          <a:prstGeom prst="wedgeRoundRectCallout">
            <a:avLst>
              <a:gd name="adj1" fmla="val -59817"/>
              <a:gd name="adj2" fmla="val -22499"/>
              <a:gd name="adj3" fmla="val 16667"/>
            </a:avLst>
          </a:prstGeom>
          <a:ln w="28575" cmpd="sng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sz="1700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every batch saved to HDFS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33400" y="6139934"/>
            <a:ext cx="80342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Source:datadricks</a:t>
            </a:r>
            <a:endParaRPr lang="en-US" sz="6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0" name="Title 3"/>
          <p:cNvSpPr>
            <a:spLocks noGrp="1"/>
          </p:cNvSpPr>
          <p:nvPr>
            <p:ph type="title"/>
          </p:nvPr>
        </p:nvSpPr>
        <p:spPr>
          <a:xfrm>
            <a:off x="374650" y="76200"/>
            <a:ext cx="9531350" cy="79375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Example – Get </a:t>
            </a:r>
            <a:r>
              <a:rPr lang="en-US" b="1" dirty="0" err="1" smtClean="0">
                <a:latin typeface="+mj-lt"/>
              </a:rPr>
              <a:t>hashtags</a:t>
            </a:r>
            <a:r>
              <a:rPr lang="en-US" b="1" dirty="0" smtClean="0">
                <a:latin typeface="+mj-lt"/>
              </a:rPr>
              <a:t> from Twitter </a:t>
            </a:r>
            <a:endParaRPr lang="en-US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235314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4" grpId="0" animBg="1"/>
      <p:bldP spid="6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  <a:defRPr/>
            </a:pP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val</a:t>
            </a:r>
            <a:r>
              <a:rPr lang="en-US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 tweets = </a:t>
            </a: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ssc.twitterStream</a:t>
            </a:r>
            <a:r>
              <a:rPr lang="en-US" sz="17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()</a:t>
            </a:r>
            <a:endParaRPr lang="en-US" sz="1700" dirty="0">
              <a:solidFill>
                <a:schemeClr val="tx1">
                  <a:lumMod val="50000"/>
                  <a:lumOff val="50000"/>
                </a:schemeClr>
              </a:solidFill>
              <a:latin typeface="Consolas"/>
              <a:cs typeface="Consolas"/>
            </a:endParaRPr>
          </a:p>
          <a:p>
            <a:pPr marL="0" indent="0">
              <a:buNone/>
              <a:defRPr/>
            </a:pPr>
            <a:r>
              <a:rPr lang="en-US" sz="1700" dirty="0" err="1">
                <a:solidFill>
                  <a:srgbClr val="7F7F7F"/>
                </a:solidFill>
                <a:latin typeface="Consolas"/>
                <a:cs typeface="Consolas"/>
              </a:rPr>
              <a:t>val</a:t>
            </a:r>
            <a:r>
              <a:rPr lang="en-US" sz="1700" dirty="0">
                <a:solidFill>
                  <a:srgbClr val="7F7F7F"/>
                </a:solidFill>
                <a:latin typeface="Consolas"/>
                <a:cs typeface="Consolas"/>
              </a:rPr>
              <a:t> </a:t>
            </a:r>
            <a:r>
              <a:rPr lang="en-US" sz="1700" dirty="0" err="1">
                <a:solidFill>
                  <a:srgbClr val="7F7F7F"/>
                </a:solidFill>
                <a:latin typeface="Consolas"/>
                <a:cs typeface="Consolas"/>
              </a:rPr>
              <a:t>hashTags</a:t>
            </a:r>
            <a:r>
              <a:rPr lang="en-US" sz="1700" dirty="0">
                <a:solidFill>
                  <a:srgbClr val="7F7F7F"/>
                </a:solidFill>
                <a:latin typeface="Consolas"/>
                <a:cs typeface="Consolas"/>
              </a:rPr>
              <a:t> = </a:t>
            </a:r>
            <a:r>
              <a:rPr lang="en-US" sz="1700" dirty="0" err="1">
                <a:solidFill>
                  <a:srgbClr val="7F7F7F"/>
                </a:solidFill>
                <a:latin typeface="Consolas"/>
                <a:cs typeface="Consolas"/>
              </a:rPr>
              <a:t>tweets.flatMap</a:t>
            </a:r>
            <a:r>
              <a:rPr lang="en-US" sz="1700" dirty="0">
                <a:solidFill>
                  <a:srgbClr val="7F7F7F"/>
                </a:solidFill>
                <a:latin typeface="Consolas"/>
                <a:cs typeface="Consolas"/>
              </a:rPr>
              <a:t> (status =&gt; </a:t>
            </a:r>
            <a:r>
              <a:rPr lang="en-US" sz="1700" dirty="0" err="1">
                <a:solidFill>
                  <a:srgbClr val="7F7F7F"/>
                </a:solidFill>
                <a:latin typeface="Consolas"/>
                <a:cs typeface="Consolas"/>
              </a:rPr>
              <a:t>getTags</a:t>
            </a:r>
            <a:r>
              <a:rPr lang="en-US" sz="1700" dirty="0">
                <a:solidFill>
                  <a:srgbClr val="7F7F7F"/>
                </a:solidFill>
                <a:latin typeface="Consolas"/>
                <a:cs typeface="Consolas"/>
              </a:rPr>
              <a:t>(status))</a:t>
            </a:r>
          </a:p>
          <a:p>
            <a:pPr marL="0" indent="0">
              <a:buNone/>
              <a:defRPr/>
            </a:pPr>
            <a:r>
              <a:rPr lang="en-US" sz="1700" dirty="0" err="1" smtClean="0">
                <a:solidFill>
                  <a:schemeClr val="accent3"/>
                </a:solidFill>
                <a:latin typeface="Consolas"/>
                <a:cs typeface="Consolas"/>
              </a:rPr>
              <a:t>hashTags</a:t>
            </a:r>
            <a:r>
              <a:rPr lang="en-US" sz="1700" dirty="0" err="1" smtClean="0">
                <a:latin typeface="Consolas"/>
                <a:cs typeface="Consolas"/>
              </a:rPr>
              <a:t>.</a:t>
            </a:r>
            <a:r>
              <a:rPr lang="en-US" sz="1700" dirty="0" err="1" smtClean="0">
                <a:solidFill>
                  <a:schemeClr val="accent1"/>
                </a:solidFill>
                <a:latin typeface="Consolas"/>
                <a:cs typeface="Consolas"/>
              </a:rPr>
              <a:t>foreach</a:t>
            </a:r>
            <a:r>
              <a:rPr lang="en-US" sz="1700" dirty="0" smtClean="0">
                <a:latin typeface="Consolas"/>
                <a:cs typeface="Consolas"/>
              </a:rPr>
              <a:t>(</a:t>
            </a:r>
            <a:r>
              <a:rPr lang="en-US" sz="1700" dirty="0" err="1" smtClean="0">
                <a:latin typeface="Consolas"/>
                <a:cs typeface="Consolas"/>
              </a:rPr>
              <a:t>hashTagRDD</a:t>
            </a:r>
            <a:r>
              <a:rPr lang="en-US" sz="1700" dirty="0" smtClean="0">
                <a:latin typeface="Consolas"/>
                <a:cs typeface="Consolas"/>
              </a:rPr>
              <a:t> =&gt; { ... })</a:t>
            </a:r>
            <a:endParaRPr lang="en-US" sz="1700" dirty="0">
              <a:latin typeface="Consolas"/>
              <a:cs typeface="Consolas"/>
            </a:endParaRPr>
          </a:p>
          <a:p>
            <a:pPr marL="0" indent="0">
              <a:buNone/>
              <a:defRPr/>
            </a:pPr>
            <a:endParaRPr lang="en-US" sz="2500" dirty="0"/>
          </a:p>
          <a:p>
            <a:pPr>
              <a:defRPr/>
            </a:pPr>
            <a:endParaRPr lang="en-US" sz="2000" dirty="0"/>
          </a:p>
        </p:txBody>
      </p:sp>
      <p:sp>
        <p:nvSpPr>
          <p:cNvPr id="164" name="Rounded Rectangular Callout 163"/>
          <p:cNvSpPr/>
          <p:nvPr/>
        </p:nvSpPr>
        <p:spPr>
          <a:xfrm>
            <a:off x="2817018" y="2590800"/>
            <a:ext cx="6247608" cy="571500"/>
          </a:xfrm>
          <a:prstGeom prst="wedgeRoundRectCallout">
            <a:avLst>
              <a:gd name="adj1" fmla="val -56824"/>
              <a:gd name="adj2" fmla="val -52520"/>
              <a:gd name="adj3" fmla="val 16667"/>
            </a:avLst>
          </a:prstGeom>
          <a:ln w="28575" cmpd="sng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b="1" dirty="0" err="1" smtClean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foreach</a:t>
            </a:r>
            <a:r>
              <a:rPr lang="en-US" dirty="0">
                <a:solidFill>
                  <a:srgbClr val="000000"/>
                </a:solidFill>
                <a:latin typeface="Calibri"/>
                <a:cs typeface="Calibri"/>
              </a:rPr>
              <a:t>: do whatever you want with the processed data</a:t>
            </a:r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3163987" y="3810001"/>
            <a:ext cx="904180" cy="296069"/>
            <a:chOff x="7918600" y="4832650"/>
            <a:chExt cx="2458447" cy="653855"/>
          </a:xfrm>
        </p:grpSpPr>
        <p:sp>
          <p:nvSpPr>
            <p:cNvPr id="9" name="Alternate Process 8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0" name="Straight Connector 9"/>
            <p:cNvCxnSpPr>
              <a:stCxn id="9" idx="0"/>
              <a:endCxn id="9" idx="2"/>
            </p:cNvCxnSpPr>
            <p:nvPr/>
          </p:nvCxnSpPr>
          <p:spPr>
            <a:xfrm>
              <a:off x="9147824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9784354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8548117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grpSp>
        <p:nvGrpSpPr>
          <p:cNvPr id="3" name="Group 23"/>
          <p:cNvGrpSpPr>
            <a:grpSpLocks/>
          </p:cNvGrpSpPr>
          <p:nvPr/>
        </p:nvGrpSpPr>
        <p:grpSpPr bwMode="auto">
          <a:xfrm>
            <a:off x="3155603" y="4599783"/>
            <a:ext cx="903536" cy="296069"/>
            <a:chOff x="7918600" y="4832650"/>
            <a:chExt cx="2458447" cy="653855"/>
          </a:xfrm>
        </p:grpSpPr>
        <p:sp>
          <p:nvSpPr>
            <p:cNvPr id="25" name="Alternate Process 24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26" name="Straight Connector 25"/>
            <p:cNvCxnSpPr>
              <a:stCxn id="25" idx="0"/>
              <a:endCxn id="25" idx="2"/>
            </p:cNvCxnSpPr>
            <p:nvPr/>
          </p:nvCxnSpPr>
          <p:spPr>
            <a:xfrm>
              <a:off x="9148701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9785687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854856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</p:grpSp>
      <p:sp>
        <p:nvSpPr>
          <p:cNvPr id="63" name="TextBox 62"/>
          <p:cNvSpPr txBox="1"/>
          <p:nvPr/>
        </p:nvSpPr>
        <p:spPr bwMode="auto">
          <a:xfrm>
            <a:off x="3656339" y="4248151"/>
            <a:ext cx="1013818" cy="200055"/>
          </a:xfrm>
          <a:prstGeom prst="rect">
            <a:avLst/>
          </a:prstGeom>
          <a:noFill/>
        </p:spPr>
        <p:txBody>
          <a:bodyPr wrap="square" lIns="38405" tIns="0" rIns="38405" bIns="0">
            <a:spAutoFit/>
          </a:bodyPr>
          <a:lstStyle/>
          <a:p>
            <a:pPr>
              <a:defRPr/>
            </a:pPr>
            <a:r>
              <a:rPr lang="en-US" sz="1300" dirty="0" err="1">
                <a:solidFill>
                  <a:prstClr val="black"/>
                </a:solidFill>
                <a:latin typeface="Arial"/>
                <a:ea typeface="ヒラギノ角ゴ ProN W3"/>
                <a:cs typeface="Tw Cen MT"/>
              </a:rPr>
              <a:t>flatMap</a:t>
            </a:r>
            <a:endParaRPr lang="en-US" sz="1300" dirty="0">
              <a:solidFill>
                <a:prstClr val="black"/>
              </a:solidFill>
              <a:latin typeface="Arial"/>
              <a:ea typeface="ヒラギノ角ゴ ProN W3"/>
              <a:cs typeface="Tw Cen MT"/>
            </a:endParaRPr>
          </a:p>
        </p:txBody>
      </p:sp>
      <p:cxnSp>
        <p:nvCxnSpPr>
          <p:cNvPr id="109" name="Straight Arrow Connector 108"/>
          <p:cNvCxnSpPr>
            <a:stCxn id="9" idx="2"/>
            <a:endCxn id="25" idx="0"/>
          </p:cNvCxnSpPr>
          <p:nvPr/>
        </p:nvCxnSpPr>
        <p:spPr bwMode="auto">
          <a:xfrm flipH="1">
            <a:off x="3607048" y="4101308"/>
            <a:ext cx="9029" cy="505619"/>
          </a:xfrm>
          <a:prstGeom prst="straightConnector1">
            <a:avLst/>
          </a:prstGeom>
          <a:solidFill>
            <a:srgbClr val="00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6" name="Group 111"/>
          <p:cNvGrpSpPr>
            <a:grpSpLocks/>
          </p:cNvGrpSpPr>
          <p:nvPr/>
        </p:nvGrpSpPr>
        <p:grpSpPr bwMode="auto">
          <a:xfrm>
            <a:off x="4592490" y="3810001"/>
            <a:ext cx="904180" cy="296069"/>
            <a:chOff x="7918600" y="4832650"/>
            <a:chExt cx="2458447" cy="653855"/>
          </a:xfrm>
        </p:grpSpPr>
        <p:sp>
          <p:nvSpPr>
            <p:cNvPr id="113" name="Alternate Process 112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14" name="Straight Connector 113"/>
            <p:cNvCxnSpPr>
              <a:stCxn id="113" idx="0"/>
              <a:endCxn id="113" idx="2"/>
            </p:cNvCxnSpPr>
            <p:nvPr/>
          </p:nvCxnSpPr>
          <p:spPr>
            <a:xfrm>
              <a:off x="9147823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15" name="Straight Connector 114"/>
            <p:cNvCxnSpPr/>
            <p:nvPr/>
          </p:nvCxnSpPr>
          <p:spPr>
            <a:xfrm>
              <a:off x="9784354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16" name="Straight Connector 115"/>
            <p:cNvCxnSpPr/>
            <p:nvPr/>
          </p:nvCxnSpPr>
          <p:spPr>
            <a:xfrm>
              <a:off x="854811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grpSp>
        <p:nvGrpSpPr>
          <p:cNvPr id="7" name="Group 126"/>
          <p:cNvGrpSpPr>
            <a:grpSpLocks/>
          </p:cNvGrpSpPr>
          <p:nvPr/>
        </p:nvGrpSpPr>
        <p:grpSpPr bwMode="auto">
          <a:xfrm>
            <a:off x="4584105" y="4599783"/>
            <a:ext cx="903536" cy="296069"/>
            <a:chOff x="7918600" y="4832650"/>
            <a:chExt cx="2458447" cy="653855"/>
          </a:xfrm>
        </p:grpSpPr>
        <p:sp>
          <p:nvSpPr>
            <p:cNvPr id="128" name="Alternate Process 127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29" name="Straight Connector 128"/>
            <p:cNvCxnSpPr>
              <a:stCxn id="128" idx="0"/>
              <a:endCxn id="128" idx="2"/>
            </p:cNvCxnSpPr>
            <p:nvPr/>
          </p:nvCxnSpPr>
          <p:spPr>
            <a:xfrm>
              <a:off x="9148701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130" name="Straight Connector 129"/>
            <p:cNvCxnSpPr/>
            <p:nvPr/>
          </p:nvCxnSpPr>
          <p:spPr>
            <a:xfrm>
              <a:off x="9785686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131" name="Straight Connector 130"/>
            <p:cNvCxnSpPr/>
            <p:nvPr/>
          </p:nvCxnSpPr>
          <p:spPr>
            <a:xfrm>
              <a:off x="854856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</p:grpSp>
      <p:sp>
        <p:nvSpPr>
          <p:cNvPr id="132" name="TextBox 131"/>
          <p:cNvSpPr txBox="1"/>
          <p:nvPr/>
        </p:nvSpPr>
        <p:spPr bwMode="auto">
          <a:xfrm>
            <a:off x="5084842" y="4248151"/>
            <a:ext cx="1013818" cy="200055"/>
          </a:xfrm>
          <a:prstGeom prst="rect">
            <a:avLst/>
          </a:prstGeom>
          <a:noFill/>
        </p:spPr>
        <p:txBody>
          <a:bodyPr wrap="square" lIns="38405" tIns="0" rIns="38405" bIns="0">
            <a:spAutoFit/>
          </a:bodyPr>
          <a:lstStyle/>
          <a:p>
            <a:pPr>
              <a:defRPr/>
            </a:pPr>
            <a:r>
              <a:rPr lang="en-US" sz="1300" dirty="0" err="1">
                <a:solidFill>
                  <a:prstClr val="black"/>
                </a:solidFill>
                <a:latin typeface="Arial"/>
                <a:ea typeface="ヒラギノ角ゴ ProN W3"/>
                <a:cs typeface="Tw Cen MT"/>
              </a:rPr>
              <a:t>flatMap</a:t>
            </a:r>
            <a:endParaRPr lang="en-US" sz="1300" dirty="0">
              <a:solidFill>
                <a:prstClr val="black"/>
              </a:solidFill>
              <a:latin typeface="Arial"/>
              <a:ea typeface="ヒラギノ角ゴ ProN W3"/>
              <a:cs typeface="Tw Cen MT"/>
            </a:endParaRPr>
          </a:p>
        </p:txBody>
      </p:sp>
      <p:cxnSp>
        <p:nvCxnSpPr>
          <p:cNvPr id="133" name="Straight Arrow Connector 132"/>
          <p:cNvCxnSpPr>
            <a:stCxn id="113" idx="2"/>
            <a:endCxn id="128" idx="0"/>
          </p:cNvCxnSpPr>
          <p:nvPr/>
        </p:nvCxnSpPr>
        <p:spPr bwMode="auto">
          <a:xfrm flipH="1">
            <a:off x="5035550" y="4101308"/>
            <a:ext cx="9029" cy="505619"/>
          </a:xfrm>
          <a:prstGeom prst="straightConnector1">
            <a:avLst/>
          </a:prstGeom>
          <a:solidFill>
            <a:srgbClr val="00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8" name="Group 133"/>
          <p:cNvGrpSpPr>
            <a:grpSpLocks/>
          </p:cNvGrpSpPr>
          <p:nvPr/>
        </p:nvGrpSpPr>
        <p:grpSpPr bwMode="auto">
          <a:xfrm>
            <a:off x="5993259" y="3810001"/>
            <a:ext cx="903536" cy="296069"/>
            <a:chOff x="7918600" y="4832650"/>
            <a:chExt cx="2458447" cy="653855"/>
          </a:xfrm>
        </p:grpSpPr>
        <p:sp>
          <p:nvSpPr>
            <p:cNvPr id="135" name="Alternate Process 134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36" name="Straight Connector 135"/>
            <p:cNvCxnSpPr>
              <a:stCxn id="135" idx="0"/>
              <a:endCxn id="135" idx="2"/>
            </p:cNvCxnSpPr>
            <p:nvPr/>
          </p:nvCxnSpPr>
          <p:spPr>
            <a:xfrm>
              <a:off x="9148701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37" name="Straight Connector 136"/>
            <p:cNvCxnSpPr/>
            <p:nvPr/>
          </p:nvCxnSpPr>
          <p:spPr>
            <a:xfrm>
              <a:off x="9785687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38" name="Straight Connector 137"/>
            <p:cNvCxnSpPr/>
            <p:nvPr/>
          </p:nvCxnSpPr>
          <p:spPr>
            <a:xfrm>
              <a:off x="854856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grpSp>
        <p:nvGrpSpPr>
          <p:cNvPr id="13" name="Group 148"/>
          <p:cNvGrpSpPr>
            <a:grpSpLocks/>
          </p:cNvGrpSpPr>
          <p:nvPr/>
        </p:nvGrpSpPr>
        <p:grpSpPr bwMode="auto">
          <a:xfrm>
            <a:off x="5984231" y="4599783"/>
            <a:ext cx="903536" cy="296069"/>
            <a:chOff x="7918600" y="4832650"/>
            <a:chExt cx="2458447" cy="653855"/>
          </a:xfrm>
        </p:grpSpPr>
        <p:sp>
          <p:nvSpPr>
            <p:cNvPr id="150" name="Alternate Process 149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51" name="Straight Connector 150"/>
            <p:cNvCxnSpPr>
              <a:stCxn id="150" idx="0"/>
              <a:endCxn id="150" idx="2"/>
            </p:cNvCxnSpPr>
            <p:nvPr/>
          </p:nvCxnSpPr>
          <p:spPr>
            <a:xfrm>
              <a:off x="9148701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152" name="Straight Connector 151"/>
            <p:cNvCxnSpPr/>
            <p:nvPr/>
          </p:nvCxnSpPr>
          <p:spPr>
            <a:xfrm>
              <a:off x="9785687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153" name="Straight Connector 152"/>
            <p:cNvCxnSpPr/>
            <p:nvPr/>
          </p:nvCxnSpPr>
          <p:spPr>
            <a:xfrm>
              <a:off x="854856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</p:grpSp>
      <p:sp>
        <p:nvSpPr>
          <p:cNvPr id="154" name="TextBox 153"/>
          <p:cNvSpPr txBox="1"/>
          <p:nvPr/>
        </p:nvSpPr>
        <p:spPr bwMode="auto">
          <a:xfrm>
            <a:off x="6484967" y="4248151"/>
            <a:ext cx="1013818" cy="200055"/>
          </a:xfrm>
          <a:prstGeom prst="rect">
            <a:avLst/>
          </a:prstGeom>
          <a:noFill/>
        </p:spPr>
        <p:txBody>
          <a:bodyPr wrap="square" lIns="38405" tIns="0" rIns="38405" bIns="0">
            <a:spAutoFit/>
          </a:bodyPr>
          <a:lstStyle/>
          <a:p>
            <a:pPr>
              <a:defRPr/>
            </a:pPr>
            <a:r>
              <a:rPr lang="en-US" sz="1300" dirty="0" err="1">
                <a:solidFill>
                  <a:prstClr val="black"/>
                </a:solidFill>
                <a:latin typeface="Arial"/>
                <a:ea typeface="ヒラギノ角ゴ ProN W3"/>
                <a:cs typeface="Tw Cen MT"/>
              </a:rPr>
              <a:t>flatMap</a:t>
            </a:r>
            <a:endParaRPr lang="en-US" sz="1300" dirty="0">
              <a:solidFill>
                <a:prstClr val="black"/>
              </a:solidFill>
              <a:latin typeface="Arial"/>
              <a:ea typeface="ヒラギノ角ゴ ProN W3"/>
              <a:cs typeface="Tw Cen MT"/>
            </a:endParaRPr>
          </a:p>
        </p:txBody>
      </p:sp>
      <p:cxnSp>
        <p:nvCxnSpPr>
          <p:cNvPr id="155" name="Straight Arrow Connector 154"/>
          <p:cNvCxnSpPr>
            <a:stCxn id="135" idx="2"/>
            <a:endCxn id="150" idx="0"/>
          </p:cNvCxnSpPr>
          <p:nvPr/>
        </p:nvCxnSpPr>
        <p:spPr bwMode="auto">
          <a:xfrm flipH="1">
            <a:off x="6436321" y="4101308"/>
            <a:ext cx="8384" cy="505619"/>
          </a:xfrm>
          <a:prstGeom prst="straightConnector1">
            <a:avLst/>
          </a:prstGeom>
          <a:solidFill>
            <a:srgbClr val="00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5" name="Straight Arrow Connector 84"/>
          <p:cNvCxnSpPr/>
          <p:nvPr/>
        </p:nvCxnSpPr>
        <p:spPr bwMode="auto">
          <a:xfrm flipH="1">
            <a:off x="3600599" y="4901408"/>
            <a:ext cx="9029" cy="505619"/>
          </a:xfrm>
          <a:prstGeom prst="straightConnector1">
            <a:avLst/>
          </a:prstGeom>
          <a:solidFill>
            <a:srgbClr val="00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7" name="Straight Arrow Connector 86"/>
          <p:cNvCxnSpPr/>
          <p:nvPr/>
        </p:nvCxnSpPr>
        <p:spPr bwMode="auto">
          <a:xfrm flipH="1">
            <a:off x="5029101" y="4901408"/>
            <a:ext cx="9029" cy="505619"/>
          </a:xfrm>
          <a:prstGeom prst="straightConnector1">
            <a:avLst/>
          </a:prstGeom>
          <a:solidFill>
            <a:srgbClr val="00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9" name="Straight Arrow Connector 88"/>
          <p:cNvCxnSpPr/>
          <p:nvPr/>
        </p:nvCxnSpPr>
        <p:spPr bwMode="auto">
          <a:xfrm flipH="1">
            <a:off x="6429872" y="4901408"/>
            <a:ext cx="8384" cy="505619"/>
          </a:xfrm>
          <a:prstGeom prst="straightConnector1">
            <a:avLst/>
          </a:prstGeom>
          <a:solidFill>
            <a:srgbClr val="00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84" name="TextBox 83"/>
          <p:cNvSpPr txBox="1"/>
          <p:nvPr/>
        </p:nvSpPr>
        <p:spPr bwMode="auto">
          <a:xfrm>
            <a:off x="3607693" y="4973639"/>
            <a:ext cx="930321" cy="200055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>
              <a:defRPr/>
            </a:pPr>
            <a:r>
              <a:rPr lang="en-US" sz="1300" dirty="0" err="1" smtClean="0">
                <a:solidFill>
                  <a:prstClr val="black"/>
                </a:solidFill>
                <a:latin typeface="Arial"/>
                <a:ea typeface="ヒラギノ角ゴ ProN W3"/>
                <a:cs typeface="Tw Cen MT"/>
              </a:rPr>
              <a:t>foreach</a:t>
            </a:r>
            <a:endParaRPr lang="en-US" sz="1300" dirty="0">
              <a:solidFill>
                <a:prstClr val="black"/>
              </a:solidFill>
              <a:latin typeface="Arial"/>
              <a:ea typeface="ヒラギノ角ゴ ProN W3"/>
              <a:cs typeface="Tw Cen MT"/>
            </a:endParaRPr>
          </a:p>
        </p:txBody>
      </p:sp>
      <p:sp>
        <p:nvSpPr>
          <p:cNvPr id="86" name="TextBox 85"/>
          <p:cNvSpPr txBox="1"/>
          <p:nvPr/>
        </p:nvSpPr>
        <p:spPr bwMode="auto">
          <a:xfrm>
            <a:off x="5036194" y="4973639"/>
            <a:ext cx="929417" cy="200055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>
              <a:defRPr/>
            </a:pPr>
            <a:r>
              <a:rPr lang="en-US" sz="1300" dirty="0" err="1" smtClean="0">
                <a:solidFill>
                  <a:prstClr val="black"/>
                </a:solidFill>
                <a:latin typeface="Arial"/>
                <a:ea typeface="ヒラギノ角ゴ ProN W3"/>
                <a:cs typeface="Tw Cen MT"/>
              </a:rPr>
              <a:t>foreach</a:t>
            </a:r>
            <a:endParaRPr lang="en-US" sz="1300" dirty="0">
              <a:solidFill>
                <a:prstClr val="black"/>
              </a:solidFill>
              <a:latin typeface="Arial"/>
              <a:ea typeface="ヒラギノ角ゴ ProN W3"/>
              <a:cs typeface="Tw Cen MT"/>
            </a:endParaRPr>
          </a:p>
        </p:txBody>
      </p:sp>
      <p:sp>
        <p:nvSpPr>
          <p:cNvPr id="88" name="TextBox 87"/>
          <p:cNvSpPr txBox="1"/>
          <p:nvPr/>
        </p:nvSpPr>
        <p:spPr bwMode="auto">
          <a:xfrm>
            <a:off x="6436321" y="4973639"/>
            <a:ext cx="930321" cy="200055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>
              <a:defRPr/>
            </a:pPr>
            <a:r>
              <a:rPr lang="en-US" sz="1300" dirty="0" err="1" smtClean="0">
                <a:solidFill>
                  <a:prstClr val="black"/>
                </a:solidFill>
                <a:latin typeface="Arial"/>
                <a:ea typeface="ヒラギノ角ゴ ProN W3"/>
                <a:cs typeface="Tw Cen MT"/>
              </a:rPr>
              <a:t>foreach</a:t>
            </a:r>
            <a:endParaRPr lang="en-US" sz="1300" dirty="0">
              <a:solidFill>
                <a:prstClr val="black"/>
              </a:solidFill>
              <a:latin typeface="Arial"/>
              <a:ea typeface="ヒラギノ角ゴ ProN W3"/>
              <a:cs typeface="Tw Cen MT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4480918" y="3517107"/>
            <a:ext cx="1087338" cy="2492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sz="1500" kern="0" dirty="0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rPr>
              <a:t>batch @ t+1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3064670" y="3522662"/>
            <a:ext cx="1087338" cy="2492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sz="1500" kern="0" dirty="0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rPr>
              <a:t>b</a:t>
            </a:r>
            <a:r>
              <a:rPr lang="en-US" sz="1500" kern="0" dirty="0" err="1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rPr>
              <a:t>atch</a:t>
            </a:r>
            <a:r>
              <a:rPr lang="en-US" sz="1500" kern="0" dirty="0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rPr>
              <a:t> @ t</a:t>
            </a:r>
          </a:p>
        </p:txBody>
      </p:sp>
      <p:sp>
        <p:nvSpPr>
          <p:cNvPr id="57" name="Rectangle 56"/>
          <p:cNvSpPr/>
          <p:nvPr/>
        </p:nvSpPr>
        <p:spPr bwMode="auto">
          <a:xfrm>
            <a:off x="5895877" y="3522662"/>
            <a:ext cx="1087338" cy="2492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sz="1500" kern="0" dirty="0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rPr>
              <a:t>batch @ t+2</a:t>
            </a:r>
          </a:p>
        </p:txBody>
      </p:sp>
      <p:sp>
        <p:nvSpPr>
          <p:cNvPr id="21524" name="Rectangle 155"/>
          <p:cNvSpPr>
            <a:spLocks noChangeArrowheads="1"/>
          </p:cNvSpPr>
          <p:nvPr/>
        </p:nvSpPr>
        <p:spPr bwMode="auto">
          <a:xfrm>
            <a:off x="846137" y="3733800"/>
            <a:ext cx="2043113" cy="33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405" tIns="19202" rIns="38405" bIns="19202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tweets </a:t>
            </a:r>
            <a:r>
              <a:rPr lang="en-US" dirty="0" err="1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DStream</a:t>
            </a:r>
            <a:endParaRPr lang="en-US" dirty="0">
              <a:solidFill>
                <a:prstClr val="black"/>
              </a:solidFill>
              <a:latin typeface="Calibri" charset="0"/>
              <a:ea typeface="ヒラギノ角ゴ ProN W3"/>
              <a:cs typeface="Calibri" charset="0"/>
            </a:endParaRPr>
          </a:p>
        </p:txBody>
      </p:sp>
      <p:sp>
        <p:nvSpPr>
          <p:cNvPr id="21525" name="Rectangle 155"/>
          <p:cNvSpPr>
            <a:spLocks noChangeArrowheads="1"/>
          </p:cNvSpPr>
          <p:nvPr/>
        </p:nvSpPr>
        <p:spPr bwMode="auto">
          <a:xfrm>
            <a:off x="846137" y="4533900"/>
            <a:ext cx="2043113" cy="33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405" tIns="19202" rIns="38405" bIns="19202">
            <a:spAutoFit/>
          </a:bodyPr>
          <a:lstStyle/>
          <a:p>
            <a:r>
              <a:rPr lang="en-US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hashTags DStream</a:t>
            </a:r>
          </a:p>
        </p:txBody>
      </p:sp>
      <p:sp>
        <p:nvSpPr>
          <p:cNvPr id="60" name="Rounded Rectangular Callout 59"/>
          <p:cNvSpPr/>
          <p:nvPr/>
        </p:nvSpPr>
        <p:spPr>
          <a:xfrm>
            <a:off x="3176238" y="5481287"/>
            <a:ext cx="3719911" cy="685800"/>
          </a:xfrm>
          <a:prstGeom prst="wedgeRoundRectCallout">
            <a:avLst>
              <a:gd name="adj1" fmla="val -66225"/>
              <a:gd name="adj2" fmla="val 22361"/>
              <a:gd name="adj3" fmla="val 16667"/>
            </a:avLst>
          </a:prstGeom>
          <a:noFill/>
          <a:ln w="28575" cmpd="sng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sz="1700" dirty="0" smtClean="0">
                <a:solidFill>
                  <a:srgbClr val="000000"/>
                </a:solidFill>
                <a:latin typeface="Calibri"/>
                <a:cs typeface="Calibri"/>
              </a:rPr>
              <a:t>Write to database, update analytics UI, do whatever you want</a:t>
            </a:r>
            <a:endParaRPr lang="en-US" sz="1700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533400" y="6139934"/>
            <a:ext cx="80342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Source:datadricks</a:t>
            </a:r>
            <a:endParaRPr lang="en-US" sz="6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8" name="Title 3"/>
          <p:cNvSpPr>
            <a:spLocks noGrp="1"/>
          </p:cNvSpPr>
          <p:nvPr>
            <p:ph type="title"/>
          </p:nvPr>
        </p:nvSpPr>
        <p:spPr>
          <a:xfrm>
            <a:off x="374650" y="76200"/>
            <a:ext cx="9531350" cy="79375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Example – Get </a:t>
            </a:r>
            <a:r>
              <a:rPr lang="en-US" b="1" dirty="0" err="1" smtClean="0">
                <a:latin typeface="+mj-lt"/>
              </a:rPr>
              <a:t>hashtags</a:t>
            </a:r>
            <a:r>
              <a:rPr lang="en-US" b="1" dirty="0" smtClean="0">
                <a:latin typeface="+mj-lt"/>
              </a:rPr>
              <a:t> from Twitter </a:t>
            </a:r>
            <a:endParaRPr lang="en-US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619743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38200" y="1803737"/>
            <a:ext cx="9067800" cy="101566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000" dirty="0" err="1" smtClean="0">
                <a:latin typeface="Consolas"/>
                <a:cs typeface="Consolas"/>
              </a:rPr>
              <a:t>val</a:t>
            </a:r>
            <a:r>
              <a:rPr lang="en-US" sz="2000" dirty="0" smtClean="0">
                <a:latin typeface="Consolas"/>
                <a:cs typeface="Consolas"/>
              </a:rPr>
              <a:t> </a:t>
            </a:r>
            <a:r>
              <a:rPr lang="en-US" sz="2000" dirty="0" smtClean="0">
                <a:solidFill>
                  <a:srgbClr val="B50B1B"/>
                </a:solidFill>
                <a:latin typeface="Consolas"/>
                <a:cs typeface="Consolas"/>
              </a:rPr>
              <a:t>tweets</a:t>
            </a:r>
            <a:r>
              <a:rPr lang="en-US" sz="2000" dirty="0" smtClean="0">
                <a:solidFill>
                  <a:schemeClr val="accent4"/>
                </a:solidFill>
                <a:latin typeface="Consolas"/>
                <a:cs typeface="Consolas"/>
              </a:rPr>
              <a:t> </a:t>
            </a:r>
            <a:r>
              <a:rPr lang="en-US" sz="2000" dirty="0" smtClean="0">
                <a:latin typeface="Consolas"/>
                <a:cs typeface="Consolas"/>
              </a:rPr>
              <a:t>= </a:t>
            </a:r>
            <a:r>
              <a:rPr lang="en-US" sz="2000" dirty="0" err="1" smtClean="0">
                <a:latin typeface="Consolas"/>
                <a:cs typeface="Consolas"/>
              </a:rPr>
              <a:t>ssc.</a:t>
            </a:r>
            <a:r>
              <a:rPr lang="en-US" sz="2000" dirty="0" err="1" smtClean="0">
                <a:solidFill>
                  <a:srgbClr val="0D8BE6"/>
                </a:solidFill>
                <a:latin typeface="Consolas"/>
                <a:cs typeface="Consolas"/>
              </a:rPr>
              <a:t>twitterStream</a:t>
            </a:r>
            <a:r>
              <a:rPr lang="en-US" sz="2000" dirty="0" smtClean="0">
                <a:latin typeface="Consolas"/>
                <a:cs typeface="Consolas"/>
              </a:rPr>
              <a:t>()</a:t>
            </a:r>
          </a:p>
          <a:p>
            <a:pPr>
              <a:defRPr/>
            </a:pPr>
            <a:r>
              <a:rPr lang="en-US" sz="2000" dirty="0" err="1" smtClean="0">
                <a:latin typeface="Consolas"/>
                <a:cs typeface="Consolas"/>
              </a:rPr>
              <a:t>val</a:t>
            </a:r>
            <a:r>
              <a:rPr lang="en-US" sz="2000" dirty="0" smtClean="0">
                <a:latin typeface="Consolas"/>
                <a:cs typeface="Consolas"/>
              </a:rPr>
              <a:t> </a:t>
            </a:r>
            <a:r>
              <a:rPr lang="en-US" sz="2000" dirty="0" err="1" smtClean="0">
                <a:solidFill>
                  <a:srgbClr val="C61B1B"/>
                </a:solidFill>
                <a:latin typeface="Consolas"/>
                <a:cs typeface="Consolas"/>
              </a:rPr>
              <a:t>hashTags</a:t>
            </a:r>
            <a:r>
              <a:rPr lang="en-US" sz="2000" dirty="0" smtClean="0">
                <a:solidFill>
                  <a:srgbClr val="C61B1B"/>
                </a:solidFill>
                <a:latin typeface="Consolas"/>
                <a:cs typeface="Consolas"/>
              </a:rPr>
              <a:t> </a:t>
            </a:r>
            <a:r>
              <a:rPr lang="en-US" sz="2000" dirty="0" smtClean="0">
                <a:latin typeface="Consolas"/>
                <a:cs typeface="Consolas"/>
              </a:rPr>
              <a:t>= </a:t>
            </a:r>
            <a:r>
              <a:rPr lang="en-US" sz="2000" dirty="0" err="1" smtClean="0">
                <a:solidFill>
                  <a:srgbClr val="C61B1B"/>
                </a:solidFill>
                <a:latin typeface="Consolas"/>
                <a:cs typeface="Consolas"/>
              </a:rPr>
              <a:t>tweets</a:t>
            </a:r>
            <a:r>
              <a:rPr lang="en-US" sz="2000" dirty="0" err="1" smtClean="0">
                <a:latin typeface="Consolas"/>
                <a:cs typeface="Consolas"/>
              </a:rPr>
              <a:t>.</a:t>
            </a:r>
            <a:r>
              <a:rPr lang="en-US" sz="2000" dirty="0" err="1" smtClean="0">
                <a:solidFill>
                  <a:srgbClr val="0D8BE6"/>
                </a:solidFill>
                <a:latin typeface="Consolas"/>
                <a:cs typeface="Consolas"/>
              </a:rPr>
              <a:t>flatMap</a:t>
            </a:r>
            <a:r>
              <a:rPr lang="en-US" sz="2000" dirty="0" smtClean="0">
                <a:solidFill>
                  <a:srgbClr val="0D8BE6"/>
                </a:solidFill>
                <a:latin typeface="Consolas"/>
                <a:cs typeface="Consolas"/>
              </a:rPr>
              <a:t> </a:t>
            </a:r>
            <a:r>
              <a:rPr lang="en-US" sz="2000" dirty="0" smtClean="0">
                <a:latin typeface="Consolas"/>
                <a:cs typeface="Consolas"/>
              </a:rPr>
              <a:t>(status =&gt; </a:t>
            </a:r>
            <a:r>
              <a:rPr lang="en-US" sz="2000" dirty="0" err="1" smtClean="0">
                <a:latin typeface="Consolas"/>
                <a:cs typeface="Consolas"/>
              </a:rPr>
              <a:t>getTags</a:t>
            </a:r>
            <a:r>
              <a:rPr lang="en-US" sz="2000" dirty="0" smtClean="0">
                <a:latin typeface="Consolas"/>
                <a:cs typeface="Consolas"/>
              </a:rPr>
              <a:t>(status))</a:t>
            </a:r>
          </a:p>
          <a:p>
            <a:pPr>
              <a:defRPr/>
            </a:pPr>
            <a:r>
              <a:rPr lang="en-US" sz="2000" dirty="0" err="1" smtClean="0">
                <a:solidFill>
                  <a:schemeClr val="accent3"/>
                </a:solidFill>
                <a:latin typeface="Consolas"/>
                <a:cs typeface="Consolas"/>
              </a:rPr>
              <a:t>hashTags</a:t>
            </a:r>
            <a:r>
              <a:rPr lang="en-US" sz="2000" dirty="0" err="1" smtClean="0">
                <a:latin typeface="Consolas"/>
                <a:cs typeface="Consolas"/>
              </a:rPr>
              <a:t>.</a:t>
            </a:r>
            <a:r>
              <a:rPr lang="en-US" sz="2000" dirty="0" err="1" smtClean="0">
                <a:solidFill>
                  <a:schemeClr val="accent1"/>
                </a:solidFill>
                <a:latin typeface="Consolas"/>
                <a:cs typeface="Consolas"/>
              </a:rPr>
              <a:t>saveAsHadoopFiles</a:t>
            </a:r>
            <a:r>
              <a:rPr lang="en-US" sz="2000" dirty="0" smtClean="0">
                <a:latin typeface="Consolas"/>
                <a:cs typeface="Consolas"/>
              </a:rPr>
              <a:t>("</a:t>
            </a:r>
            <a:r>
              <a:rPr lang="en-US" sz="2000" dirty="0" err="1" smtClean="0">
                <a:latin typeface="Consolas"/>
                <a:cs typeface="Consolas"/>
              </a:rPr>
              <a:t>hdfs</a:t>
            </a:r>
            <a:r>
              <a:rPr lang="en-US" sz="2000" dirty="0" smtClean="0">
                <a:latin typeface="Consolas"/>
                <a:cs typeface="Consolas"/>
              </a:rPr>
              <a:t>://...")</a:t>
            </a:r>
            <a:endParaRPr lang="en-US" sz="2000" dirty="0">
              <a:latin typeface="Consolas"/>
              <a:cs typeface="Consola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6605" y="1295400"/>
            <a:ext cx="31357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err="1" smtClean="0">
                <a:solidFill>
                  <a:schemeClr val="tx2">
                    <a:lumMod val="50000"/>
                  </a:schemeClr>
                </a:solidFill>
              </a:rPr>
              <a:t>Scala</a:t>
            </a: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 Streaming Example</a:t>
            </a:r>
            <a:endParaRPr lang="en-US" sz="20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374650" y="76200"/>
            <a:ext cx="9531350" cy="79375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Example – </a:t>
            </a:r>
            <a:r>
              <a:rPr lang="en-US" b="1" dirty="0" err="1" smtClean="0">
                <a:latin typeface="+mj-lt"/>
              </a:rPr>
              <a:t>Scala</a:t>
            </a:r>
            <a:endParaRPr lang="en-US" b="1" dirty="0"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3574740"/>
            <a:ext cx="9906000" cy="463860"/>
          </a:xfrm>
          <a:prstGeom prst="rect">
            <a:avLst/>
          </a:prstGeom>
          <a:gradFill rotWithShape="1">
            <a:gsLst>
              <a:gs pos="0">
                <a:srgbClr val="B5E1DF"/>
              </a:gs>
              <a:gs pos="100000">
                <a:srgbClr val="00A0D6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defTabSz="779252">
              <a:defRPr/>
            </a:pPr>
            <a:endParaRPr lang="fr-FR" sz="15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152400"/>
            <a:ext cx="9905999" cy="533400"/>
          </a:xfrm>
        </p:spPr>
        <p:txBody>
          <a:bodyPr anchor="b"/>
          <a:lstStyle/>
          <a:p>
            <a:pPr marL="457200" lvl="0" indent="-169863" defTabSz="117475">
              <a:lnSpc>
                <a:spcPct val="150000"/>
              </a:lnSpc>
              <a:defRPr/>
            </a:pPr>
            <a:r>
              <a:rPr lang="en-US" b="1" dirty="0" smtClean="0">
                <a:latin typeface="+mj-lt"/>
              </a:rPr>
              <a:t>Fault-tolerance</a:t>
            </a:r>
            <a:endParaRPr lang="en-US" b="1" dirty="0" smtClean="0">
              <a:latin typeface="+mj-lt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371600"/>
            <a:ext cx="9448800" cy="5011736"/>
          </a:xfrm>
        </p:spPr>
        <p:txBody>
          <a:bodyPr/>
          <a:lstStyle/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What </a:t>
            </a:r>
            <a:r>
              <a:rPr lang="en-US" dirty="0" smtClean="0"/>
              <a:t>is Spark streaming?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Spark </a:t>
            </a:r>
            <a:r>
              <a:rPr lang="en-US" dirty="0" smtClean="0"/>
              <a:t>streaming </a:t>
            </a:r>
            <a:r>
              <a:rPr lang="en-US" dirty="0" smtClean="0"/>
              <a:t>: How it works ?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Spark </a:t>
            </a:r>
            <a:r>
              <a:rPr lang="en-US" dirty="0" err="1" smtClean="0"/>
              <a:t>DStreams</a:t>
            </a:r>
            <a:endParaRPr lang="en-US" dirty="0" smtClean="0"/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A Twitter </a:t>
            </a:r>
            <a:r>
              <a:rPr lang="en-US" dirty="0" smtClean="0"/>
              <a:t>example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b="1" dirty="0" smtClean="0"/>
              <a:t>Fault-tolerance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err="1" smtClean="0"/>
              <a:t>Stateful</a:t>
            </a:r>
            <a:r>
              <a:rPr lang="en-US" dirty="0" smtClean="0"/>
              <a:t> Stream Processing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Q </a:t>
            </a:r>
            <a:r>
              <a:rPr lang="en-US" dirty="0" smtClean="0"/>
              <a:t>&amp; </a:t>
            </a:r>
            <a:r>
              <a:rPr lang="en-US" dirty="0" smtClean="0"/>
              <a:t>A</a:t>
            </a:r>
            <a:endParaRPr lang="en-US" dirty="0" smtClean="0"/>
          </a:p>
          <a:p>
            <a:pPr marL="909638" indent="-452438">
              <a:lnSpc>
                <a:spcPct val="150000"/>
              </a:lnSpc>
            </a:pPr>
            <a:endParaRPr lang="en-US" dirty="0" smtClean="0"/>
          </a:p>
          <a:p>
            <a:pPr marL="909638" indent="-452438">
              <a:lnSpc>
                <a:spcPct val="150000"/>
              </a:lnSpc>
            </a:pPr>
            <a:endParaRPr lang="en-US" b="1" dirty="0" smtClean="0"/>
          </a:p>
        </p:txBody>
      </p:sp>
    </p:spTree>
    <p:extLst>
      <p:ext uri="{BB962C8B-B14F-4D97-AF65-F5344CB8AC3E}">
        <p14:creationId xmlns="" xmlns:p14="http://schemas.microsoft.com/office/powerpoint/2010/main" val="7597939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1364940"/>
            <a:ext cx="9906000" cy="463860"/>
          </a:xfrm>
          <a:prstGeom prst="rect">
            <a:avLst/>
          </a:prstGeom>
          <a:gradFill rotWithShape="1">
            <a:gsLst>
              <a:gs pos="0">
                <a:srgbClr val="B5E1DF"/>
              </a:gs>
              <a:gs pos="100000">
                <a:srgbClr val="00A0D6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defTabSz="779252">
              <a:defRPr/>
            </a:pPr>
            <a:endParaRPr lang="fr-FR" sz="15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152400"/>
            <a:ext cx="9905999" cy="533400"/>
          </a:xfrm>
        </p:spPr>
        <p:txBody>
          <a:bodyPr/>
          <a:lstStyle/>
          <a:p>
            <a:pPr lvl="0"/>
            <a:r>
              <a:rPr lang="en-US" b="1" dirty="0" smtClean="0">
                <a:latin typeface="+mj-lt"/>
              </a:rPr>
              <a:t>What is Spark streaming</a:t>
            </a:r>
            <a:r>
              <a:rPr lang="en-US" b="1" dirty="0" smtClean="0">
                <a:latin typeface="+mj-lt"/>
              </a:rPr>
              <a:t>?</a:t>
            </a:r>
            <a:endParaRPr lang="en-US" dirty="0">
              <a:latin typeface="+mj-lt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312864"/>
            <a:ext cx="9448800" cy="5011736"/>
          </a:xfrm>
        </p:spPr>
        <p:txBody>
          <a:bodyPr/>
          <a:lstStyle/>
          <a:p>
            <a:pPr marL="909638" lvl="0" indent="-452438">
              <a:lnSpc>
                <a:spcPct val="150000"/>
              </a:lnSpc>
              <a:defRPr/>
            </a:pPr>
            <a:r>
              <a:rPr lang="en-US" b="1" dirty="0" smtClean="0"/>
              <a:t>What is Spark streaming?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Spark streaming : How it works ?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Spark </a:t>
            </a:r>
            <a:r>
              <a:rPr lang="en-US" dirty="0" err="1" smtClean="0"/>
              <a:t>DStreams</a:t>
            </a:r>
            <a:endParaRPr lang="en-US" dirty="0" smtClean="0"/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A Twitter example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Fault-tolerance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err="1" smtClean="0"/>
              <a:t>Stateful</a:t>
            </a:r>
            <a:r>
              <a:rPr lang="en-US" dirty="0" smtClean="0"/>
              <a:t> Stream Processing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Q &amp; A</a:t>
            </a:r>
          </a:p>
          <a:p>
            <a:pPr marL="909638" indent="-452438">
              <a:lnSpc>
                <a:spcPct val="150000"/>
              </a:lnSpc>
              <a:buNone/>
            </a:pPr>
            <a:endParaRPr lang="en-US" dirty="0" smtClean="0"/>
          </a:p>
          <a:p>
            <a:pPr marL="909638" indent="-452438">
              <a:lnSpc>
                <a:spcPct val="150000"/>
              </a:lnSpc>
            </a:pPr>
            <a:endParaRPr lang="en-US" b="1" dirty="0" smtClean="0"/>
          </a:p>
        </p:txBody>
      </p:sp>
    </p:spTree>
    <p:extLst>
      <p:ext uri="{BB962C8B-B14F-4D97-AF65-F5344CB8AC3E}">
        <p14:creationId xmlns="" xmlns:p14="http://schemas.microsoft.com/office/powerpoint/2010/main" val="7597939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b="1" dirty="0">
                <a:latin typeface="+mj-lt"/>
              </a:rPr>
              <a:t>Fault-</a:t>
            </a:r>
            <a:r>
              <a:rPr lang="en-US" b="1" dirty="0" smtClean="0">
                <a:latin typeface="+mj-lt"/>
              </a:rPr>
              <a:t>tolerance: Worker</a:t>
            </a:r>
            <a:endParaRPr lang="en-US" b="1" dirty="0">
              <a:latin typeface="+mj-lt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4294967295"/>
          </p:nvPr>
        </p:nvSpPr>
        <p:spPr>
          <a:xfrm>
            <a:off x="577851" y="1447800"/>
            <a:ext cx="4390543" cy="4572000"/>
          </a:xfrm>
          <a:prstGeom prst="rect">
            <a:avLst/>
          </a:prstGeom>
        </p:spPr>
        <p:txBody>
          <a:bodyPr/>
          <a:lstStyle/>
          <a:p>
            <a:pPr marL="909638" indent="-452438">
              <a:defRPr/>
            </a:pPr>
            <a:r>
              <a:rPr lang="en-US" sz="2000" dirty="0"/>
              <a:t>RDDs </a:t>
            </a:r>
            <a:r>
              <a:rPr lang="en-US" sz="2000" dirty="0" smtClean="0"/>
              <a:t>remember </a:t>
            </a:r>
            <a:r>
              <a:rPr lang="en-US" sz="2000" dirty="0"/>
              <a:t>the </a:t>
            </a:r>
            <a:r>
              <a:rPr lang="en-US" sz="2000" dirty="0" smtClean="0"/>
              <a:t>operations </a:t>
            </a:r>
            <a:r>
              <a:rPr lang="en-US" sz="2000" dirty="0"/>
              <a:t>that created </a:t>
            </a:r>
            <a:r>
              <a:rPr lang="en-US" sz="2000" dirty="0" smtClean="0"/>
              <a:t>them</a:t>
            </a:r>
          </a:p>
          <a:p>
            <a:pPr marL="909638" indent="-452438">
              <a:defRPr/>
            </a:pPr>
            <a:r>
              <a:rPr lang="en-US" sz="2000" dirty="0" smtClean="0"/>
              <a:t>Batches </a:t>
            </a:r>
            <a:r>
              <a:rPr lang="en-US" sz="2000" dirty="0"/>
              <a:t>of input data are replicated in memory </a:t>
            </a:r>
            <a:r>
              <a:rPr lang="en-US" sz="2000" dirty="0" smtClean="0"/>
              <a:t>for </a:t>
            </a:r>
            <a:r>
              <a:rPr lang="en-US" sz="2000" dirty="0"/>
              <a:t>fault-</a:t>
            </a:r>
            <a:r>
              <a:rPr lang="en-US" sz="2000" dirty="0" smtClean="0"/>
              <a:t>tolerance</a:t>
            </a:r>
            <a:endParaRPr lang="en-US" sz="2000" dirty="0"/>
          </a:p>
          <a:p>
            <a:pPr marL="909638" indent="-452438">
              <a:defRPr/>
            </a:pPr>
            <a:r>
              <a:rPr lang="en-US" sz="2000" dirty="0" smtClean="0"/>
              <a:t>Data </a:t>
            </a:r>
            <a:r>
              <a:rPr lang="en-US" sz="2000" dirty="0"/>
              <a:t>lost due to worker failure, can be recomputed </a:t>
            </a:r>
            <a:r>
              <a:rPr lang="en-US" sz="2000" dirty="0" smtClean="0"/>
              <a:t>from replicated </a:t>
            </a:r>
            <a:r>
              <a:rPr lang="en-US" sz="2000" dirty="0"/>
              <a:t>input </a:t>
            </a:r>
            <a:r>
              <a:rPr lang="en-US" sz="2000" dirty="0" smtClean="0"/>
              <a:t>data</a:t>
            </a:r>
          </a:p>
          <a:p>
            <a:pPr marL="909638" indent="-452438">
              <a:defRPr/>
            </a:pPr>
            <a:r>
              <a:rPr lang="en-US" dirty="0" smtClean="0"/>
              <a:t>All transformed data is fault-tolerant, and exactly-once </a:t>
            </a:r>
            <a:r>
              <a:rPr lang="en-US" dirty="0" smtClean="0"/>
              <a:t>transformations</a:t>
            </a:r>
            <a:endParaRPr lang="en-US" dirty="0" smtClean="0"/>
          </a:p>
        </p:txBody>
      </p:sp>
      <p:sp>
        <p:nvSpPr>
          <p:cNvPr id="111" name="Rounded Rectangular Callout 110"/>
          <p:cNvSpPr/>
          <p:nvPr/>
        </p:nvSpPr>
        <p:spPr>
          <a:xfrm>
            <a:off x="7955757" y="1638300"/>
            <a:ext cx="1516856" cy="952500"/>
          </a:xfrm>
          <a:prstGeom prst="wedgeRoundRectCallout">
            <a:avLst>
              <a:gd name="adj1" fmla="val -64777"/>
              <a:gd name="adj2" fmla="val -18645"/>
              <a:gd name="adj3" fmla="val 16667"/>
            </a:avLst>
          </a:prstGeom>
          <a:ln w="28575" cmpd="sng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sz="1700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input data replicated</a:t>
            </a:r>
          </a:p>
          <a:p>
            <a:pPr algn="ctr">
              <a:defRPr/>
            </a:pPr>
            <a:r>
              <a:rPr lang="en-US" sz="1700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in memory</a:t>
            </a:r>
          </a:p>
        </p:txBody>
      </p:sp>
      <p:grpSp>
        <p:nvGrpSpPr>
          <p:cNvPr id="3" name="Group 116"/>
          <p:cNvGrpSpPr>
            <a:grpSpLocks/>
          </p:cNvGrpSpPr>
          <p:nvPr/>
        </p:nvGrpSpPr>
        <p:grpSpPr bwMode="auto">
          <a:xfrm>
            <a:off x="5842993" y="2149476"/>
            <a:ext cx="1888331" cy="593725"/>
            <a:chOff x="7762239" y="5609988"/>
            <a:chExt cx="2889827" cy="840669"/>
          </a:xfrm>
        </p:grpSpPr>
        <p:pic>
          <p:nvPicPr>
            <p:cNvPr id="23598" name="Picture 117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2239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599" name="Picture 118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1349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600" name="Picture 119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7228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601" name="Picture 120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1061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3557" name="Picture 122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846862" y="4543426"/>
            <a:ext cx="601713" cy="594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8" name="Picture 123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2510" y="4543426"/>
            <a:ext cx="601713" cy="594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9" name="Picture 124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02673" y="4543426"/>
            <a:ext cx="601712" cy="594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97" name="Picture 125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33481" y="4543426"/>
            <a:ext cx="601712" cy="594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61" name="TextBox 131"/>
          <p:cNvSpPr txBox="1">
            <a:spLocks noChangeArrowheads="1"/>
          </p:cNvSpPr>
          <p:nvPr/>
        </p:nvSpPr>
        <p:spPr bwMode="auto">
          <a:xfrm>
            <a:off x="6407944" y="3013075"/>
            <a:ext cx="147429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405" tIns="0" rIns="38405" bIns="0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sz="1700">
                <a:latin typeface="Calibri" charset="0"/>
                <a:cs typeface="Calibri" charset="0"/>
              </a:rPr>
              <a:t>flatMap</a:t>
            </a:r>
          </a:p>
        </p:txBody>
      </p:sp>
      <p:cxnSp>
        <p:nvCxnSpPr>
          <p:cNvPr id="133" name="Straight Arrow Connector 132"/>
          <p:cNvCxnSpPr/>
          <p:nvPr/>
        </p:nvCxnSpPr>
        <p:spPr bwMode="auto">
          <a:xfrm flipH="1">
            <a:off x="6722683" y="2041526"/>
            <a:ext cx="26426" cy="2147077"/>
          </a:xfrm>
          <a:prstGeom prst="straightConnector1">
            <a:avLst/>
          </a:prstGeom>
          <a:solidFill>
            <a:srgbClr val="00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5" name="Group 14"/>
          <p:cNvGrpSpPr>
            <a:grpSpLocks/>
          </p:cNvGrpSpPr>
          <p:nvPr/>
        </p:nvGrpSpPr>
        <p:grpSpPr bwMode="auto">
          <a:xfrm>
            <a:off x="5943600" y="1676400"/>
            <a:ext cx="1609725" cy="266700"/>
            <a:chOff x="14325600" y="2971800"/>
            <a:chExt cx="3657600" cy="990600"/>
          </a:xfrm>
        </p:grpSpPr>
        <p:sp>
          <p:nvSpPr>
            <p:cNvPr id="124" name="Rectangle 123"/>
            <p:cNvSpPr/>
            <p:nvPr/>
          </p:nvSpPr>
          <p:spPr bwMode="auto">
            <a:xfrm>
              <a:off x="143256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25" name="Rectangle 124"/>
            <p:cNvSpPr/>
            <p:nvPr/>
          </p:nvSpPr>
          <p:spPr bwMode="auto">
            <a:xfrm>
              <a:off x="147828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26" name="Rectangle 125"/>
            <p:cNvSpPr/>
            <p:nvPr/>
          </p:nvSpPr>
          <p:spPr bwMode="auto">
            <a:xfrm>
              <a:off x="152400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27" name="Rectangle 126"/>
            <p:cNvSpPr/>
            <p:nvPr/>
          </p:nvSpPr>
          <p:spPr bwMode="auto">
            <a:xfrm>
              <a:off x="156972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32" name="Rectangle 131"/>
            <p:cNvSpPr/>
            <p:nvPr/>
          </p:nvSpPr>
          <p:spPr bwMode="auto">
            <a:xfrm>
              <a:off x="161544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34" name="Rectangle 133"/>
            <p:cNvSpPr/>
            <p:nvPr/>
          </p:nvSpPr>
          <p:spPr bwMode="auto">
            <a:xfrm>
              <a:off x="166116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39" name="Rectangle 138"/>
            <p:cNvSpPr/>
            <p:nvPr/>
          </p:nvSpPr>
          <p:spPr bwMode="auto">
            <a:xfrm>
              <a:off x="170688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40" name="Rectangle 139"/>
            <p:cNvSpPr/>
            <p:nvPr/>
          </p:nvSpPr>
          <p:spPr bwMode="auto">
            <a:xfrm>
              <a:off x="175260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</p:grpSp>
      <p:grpSp>
        <p:nvGrpSpPr>
          <p:cNvPr id="6" name="Group 23"/>
          <p:cNvGrpSpPr>
            <a:grpSpLocks/>
          </p:cNvGrpSpPr>
          <p:nvPr/>
        </p:nvGrpSpPr>
        <p:grpSpPr bwMode="auto">
          <a:xfrm>
            <a:off x="6562725" y="5029200"/>
            <a:ext cx="619125" cy="266700"/>
            <a:chOff x="15697200" y="10210800"/>
            <a:chExt cx="1524000" cy="990600"/>
          </a:xfrm>
        </p:grpSpPr>
        <p:sp>
          <p:nvSpPr>
            <p:cNvPr id="141" name="Rectangle 140"/>
            <p:cNvSpPr/>
            <p:nvPr/>
          </p:nvSpPr>
          <p:spPr bwMode="auto">
            <a:xfrm>
              <a:off x="15697200" y="10210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42" name="Rectangle 141"/>
            <p:cNvSpPr/>
            <p:nvPr/>
          </p:nvSpPr>
          <p:spPr bwMode="auto">
            <a:xfrm>
              <a:off x="16764000" y="10210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</p:grpSp>
      <p:grpSp>
        <p:nvGrpSpPr>
          <p:cNvPr id="7" name="Group 142"/>
          <p:cNvGrpSpPr>
            <a:grpSpLocks/>
          </p:cNvGrpSpPr>
          <p:nvPr/>
        </p:nvGrpSpPr>
        <p:grpSpPr bwMode="auto">
          <a:xfrm>
            <a:off x="6098381" y="1905000"/>
            <a:ext cx="1609725" cy="266700"/>
            <a:chOff x="14325600" y="2971800"/>
            <a:chExt cx="3657600" cy="990600"/>
          </a:xfrm>
        </p:grpSpPr>
        <p:sp>
          <p:nvSpPr>
            <p:cNvPr id="144" name="Rectangle 143"/>
            <p:cNvSpPr/>
            <p:nvPr/>
          </p:nvSpPr>
          <p:spPr bwMode="auto">
            <a:xfrm>
              <a:off x="143256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45" name="Rectangle 144"/>
            <p:cNvSpPr/>
            <p:nvPr/>
          </p:nvSpPr>
          <p:spPr bwMode="auto">
            <a:xfrm>
              <a:off x="147828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46" name="Rectangle 145"/>
            <p:cNvSpPr/>
            <p:nvPr/>
          </p:nvSpPr>
          <p:spPr bwMode="auto">
            <a:xfrm>
              <a:off x="152400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47" name="Rectangle 146"/>
            <p:cNvSpPr/>
            <p:nvPr/>
          </p:nvSpPr>
          <p:spPr bwMode="auto">
            <a:xfrm>
              <a:off x="156972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48" name="Rectangle 147"/>
            <p:cNvSpPr/>
            <p:nvPr/>
          </p:nvSpPr>
          <p:spPr bwMode="auto">
            <a:xfrm>
              <a:off x="161544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49" name="Rectangle 148"/>
            <p:cNvSpPr/>
            <p:nvPr/>
          </p:nvSpPr>
          <p:spPr bwMode="auto">
            <a:xfrm>
              <a:off x="166116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54" name="Rectangle 153"/>
            <p:cNvSpPr/>
            <p:nvPr/>
          </p:nvSpPr>
          <p:spPr bwMode="auto">
            <a:xfrm>
              <a:off x="170688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56" name="Rectangle 155"/>
            <p:cNvSpPr/>
            <p:nvPr/>
          </p:nvSpPr>
          <p:spPr bwMode="auto">
            <a:xfrm>
              <a:off x="175260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</p:grpSp>
      <p:sp>
        <p:nvSpPr>
          <p:cNvPr id="158" name="Rectangle 157"/>
          <p:cNvSpPr/>
          <p:nvPr/>
        </p:nvSpPr>
        <p:spPr bwMode="auto">
          <a:xfrm>
            <a:off x="5943600" y="4191000"/>
            <a:ext cx="201216" cy="266700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38405" tIns="19202" rIns="38405" bIns="19202"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159" name="Rectangle 158"/>
          <p:cNvSpPr/>
          <p:nvPr/>
        </p:nvSpPr>
        <p:spPr bwMode="auto">
          <a:xfrm>
            <a:off x="6144815" y="4191000"/>
            <a:ext cx="201216" cy="266700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38405" tIns="19202" rIns="38405" bIns="19202"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161" name="Rectangle 160"/>
          <p:cNvSpPr/>
          <p:nvPr/>
        </p:nvSpPr>
        <p:spPr bwMode="auto">
          <a:xfrm>
            <a:off x="6346031" y="4191000"/>
            <a:ext cx="201216" cy="266700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38405" tIns="19202" rIns="38405" bIns="19202"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162" name="Rectangle 161"/>
          <p:cNvSpPr/>
          <p:nvPr/>
        </p:nvSpPr>
        <p:spPr bwMode="auto">
          <a:xfrm>
            <a:off x="6547246" y="4191000"/>
            <a:ext cx="201216" cy="266700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38405" tIns="19202" rIns="38405" bIns="19202"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164" name="Rectangle 163"/>
          <p:cNvSpPr/>
          <p:nvPr/>
        </p:nvSpPr>
        <p:spPr bwMode="auto">
          <a:xfrm>
            <a:off x="6748463" y="4191000"/>
            <a:ext cx="201216" cy="266700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38405" tIns="19202" rIns="38405" bIns="19202"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166" name="Rectangle 165"/>
          <p:cNvSpPr/>
          <p:nvPr/>
        </p:nvSpPr>
        <p:spPr bwMode="auto">
          <a:xfrm>
            <a:off x="6949678" y="4191000"/>
            <a:ext cx="201216" cy="266700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38405" tIns="19202" rIns="38405" bIns="19202"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168" name="Rectangle 167"/>
          <p:cNvSpPr/>
          <p:nvPr/>
        </p:nvSpPr>
        <p:spPr bwMode="auto">
          <a:xfrm>
            <a:off x="7150894" y="4191000"/>
            <a:ext cx="201216" cy="266700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38405" tIns="19202" rIns="38405" bIns="19202"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169" name="Rectangle 168"/>
          <p:cNvSpPr/>
          <p:nvPr/>
        </p:nvSpPr>
        <p:spPr bwMode="auto">
          <a:xfrm>
            <a:off x="7352109" y="4191000"/>
            <a:ext cx="201216" cy="266700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38405" tIns="19202" rIns="38405" bIns="19202"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</a:endParaRPr>
          </a:p>
        </p:txBody>
      </p:sp>
      <p:grpSp>
        <p:nvGrpSpPr>
          <p:cNvPr id="8" name="Group 22"/>
          <p:cNvGrpSpPr>
            <a:grpSpLocks/>
          </p:cNvGrpSpPr>
          <p:nvPr/>
        </p:nvGrpSpPr>
        <p:grpSpPr bwMode="auto">
          <a:xfrm>
            <a:off x="6573368" y="2171700"/>
            <a:ext cx="1034129" cy="2371726"/>
            <a:chOff x="15723840" y="4343400"/>
            <a:chExt cx="2545108" cy="4744158"/>
          </a:xfrm>
        </p:grpSpPr>
        <p:cxnSp>
          <p:nvCxnSpPr>
            <p:cNvPr id="170" name="Straight Arrow Connector 169"/>
            <p:cNvCxnSpPr>
              <a:stCxn id="154" idx="2"/>
              <a:endCxn id="23558" idx="0"/>
            </p:cNvCxnSpPr>
            <p:nvPr/>
          </p:nvCxnSpPr>
          <p:spPr bwMode="auto">
            <a:xfrm flipH="1">
              <a:off x="15723835" y="4343400"/>
              <a:ext cx="2049900" cy="4744158"/>
            </a:xfrm>
            <a:prstGeom prst="straightConnector1">
              <a:avLst/>
            </a:prstGeom>
            <a:solidFill>
              <a:srgbClr val="000000"/>
            </a:solidFill>
            <a:ln w="2857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71" name="Straight Arrow Connector 170"/>
            <p:cNvCxnSpPr>
              <a:stCxn id="156" idx="2"/>
              <a:endCxn id="23559" idx="0"/>
            </p:cNvCxnSpPr>
            <p:nvPr/>
          </p:nvCxnSpPr>
          <p:spPr bwMode="auto">
            <a:xfrm flipH="1">
              <a:off x="16782510" y="4343400"/>
              <a:ext cx="1486438" cy="4744158"/>
            </a:xfrm>
            <a:prstGeom prst="straightConnector1">
              <a:avLst/>
            </a:prstGeom>
            <a:solidFill>
              <a:srgbClr val="000000"/>
            </a:solidFill>
            <a:ln w="2857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sp>
        <p:nvSpPr>
          <p:cNvPr id="172" name="Rounded Rectangular Callout 171"/>
          <p:cNvSpPr/>
          <p:nvPr/>
        </p:nvSpPr>
        <p:spPr>
          <a:xfrm>
            <a:off x="7831932" y="4267200"/>
            <a:ext cx="1640681" cy="952500"/>
          </a:xfrm>
          <a:prstGeom prst="wedgeRoundRectCallout">
            <a:avLst>
              <a:gd name="adj1" fmla="val -64777"/>
              <a:gd name="adj2" fmla="val -18645"/>
              <a:gd name="adj3" fmla="val 16667"/>
            </a:avLst>
          </a:prstGeom>
          <a:ln w="28575" cmpd="sng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sz="1700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lost partitions recomputed on other workers</a:t>
            </a:r>
          </a:p>
        </p:txBody>
      </p:sp>
      <p:sp>
        <p:nvSpPr>
          <p:cNvPr id="23576" name="Rectangle 155"/>
          <p:cNvSpPr>
            <a:spLocks noChangeArrowheads="1"/>
          </p:cNvSpPr>
          <p:nvPr/>
        </p:nvSpPr>
        <p:spPr bwMode="auto">
          <a:xfrm>
            <a:off x="4798219" y="1485901"/>
            <a:ext cx="1114425" cy="623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405" tIns="19202" rIns="38405" bIns="19202">
            <a:spAutoFit/>
          </a:bodyPr>
          <a:lstStyle/>
          <a:p>
            <a:pPr algn="ctr"/>
            <a:r>
              <a:rPr lang="en-US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tweets</a:t>
            </a:r>
          </a:p>
          <a:p>
            <a:pPr algn="ctr"/>
            <a:r>
              <a:rPr lang="en-US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RDD</a:t>
            </a:r>
          </a:p>
        </p:txBody>
      </p:sp>
      <p:sp>
        <p:nvSpPr>
          <p:cNvPr id="23577" name="Rectangle 155"/>
          <p:cNvSpPr>
            <a:spLocks noChangeArrowheads="1"/>
          </p:cNvSpPr>
          <p:nvPr/>
        </p:nvSpPr>
        <p:spPr bwMode="auto">
          <a:xfrm>
            <a:off x="4829175" y="3886201"/>
            <a:ext cx="1114425" cy="623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405" tIns="19202" rIns="38405" bIns="19202">
            <a:spAutoFit/>
          </a:bodyPr>
          <a:lstStyle/>
          <a:p>
            <a:pPr algn="ctr"/>
            <a:r>
              <a:rPr lang="en-US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hashTags</a:t>
            </a:r>
          </a:p>
          <a:p>
            <a:pPr algn="ctr"/>
            <a:r>
              <a:rPr lang="en-US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RDD</a:t>
            </a:r>
          </a:p>
        </p:txBody>
      </p:sp>
      <p:sp>
        <p:nvSpPr>
          <p:cNvPr id="51" name="Content Placeholder 1"/>
          <p:cNvSpPr txBox="1">
            <a:spLocks/>
          </p:cNvSpPr>
          <p:nvPr/>
        </p:nvSpPr>
        <p:spPr bwMode="auto">
          <a:xfrm>
            <a:off x="577502" y="5045276"/>
            <a:ext cx="5830443" cy="7459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25374" indent="-192024" algn="l" rtl="0" eaLnBrk="0" fontAlgn="base" hangingPunct="0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Wingdings" charset="0"/>
              <a:buChar char="§"/>
              <a:defRPr sz="2400">
                <a:solidFill>
                  <a:srgbClr val="0C0F20"/>
                </a:solidFill>
                <a:latin typeface="Calibri"/>
                <a:ea typeface="+mn-ea"/>
                <a:cs typeface="Calibri"/>
                <a:sym typeface="Arial" charset="0"/>
              </a:defRPr>
            </a:lvl1pPr>
            <a:lvl2pPr marL="512064" indent="-192024" algn="l" rtl="0" eaLnBrk="0" fontAlgn="base" hangingPunct="0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2000">
                <a:solidFill>
                  <a:srgbClr val="0C0F20"/>
                </a:solidFill>
                <a:latin typeface="Calibri"/>
                <a:ea typeface="+mn-ea"/>
                <a:cs typeface="Calibri"/>
                <a:sym typeface="Arial" charset="0"/>
              </a:defRPr>
            </a:lvl2pPr>
            <a:lvl3pPr marL="698754" indent="-192024" algn="l" rtl="0" eaLnBrk="0" fontAlgn="base" hangingPunct="0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1800">
                <a:solidFill>
                  <a:srgbClr val="0C0F20"/>
                </a:solidFill>
                <a:latin typeface="Calibri"/>
                <a:ea typeface="+mn-ea"/>
                <a:cs typeface="Calibri"/>
                <a:sym typeface="Arial" charset="0"/>
              </a:defRPr>
            </a:lvl3pPr>
            <a:lvl4pPr marL="885444" indent="-192024" algn="l" rtl="0" eaLnBrk="0" fontAlgn="base" hangingPunct="0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1600">
                <a:solidFill>
                  <a:srgbClr val="0C0F20"/>
                </a:solidFill>
                <a:latin typeface="Calibri"/>
                <a:ea typeface="+mn-ea"/>
                <a:cs typeface="Calibri"/>
                <a:sym typeface="Arial" charset="0"/>
              </a:defRPr>
            </a:lvl4pPr>
            <a:lvl5pPr marL="1072134" indent="-192024" algn="l" rtl="0" eaLnBrk="0" fontAlgn="base" hangingPunct="0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18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5pPr>
            <a:lvl6pPr marL="1264158" indent="-192024" algn="l" rtl="0" fontAlgn="base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18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6pPr>
            <a:lvl7pPr marL="1456182" indent="-192024" algn="l" rtl="0" fontAlgn="base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18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7pPr>
            <a:lvl8pPr marL="1648206" indent="-192024" algn="l" rtl="0" fontAlgn="base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18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8pPr>
            <a:lvl9pPr marL="1840230" indent="-192024" algn="l" rtl="0" fontAlgn="base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18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9pPr>
          </a:lstStyle>
          <a:p>
            <a:pPr marL="909638" indent="-452438">
              <a:buClr>
                <a:schemeClr val="accent2"/>
              </a:buClr>
              <a:defRPr/>
            </a:pPr>
            <a:endParaRPr lang="en-US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5897546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8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9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4" dur="1000"/>
                                        <p:tgtEl>
                                          <p:spTgt spid="619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7" presetID="9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8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1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3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42" presetID="22" presetClass="exit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4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46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1" grpId="0" animBg="1"/>
      <p:bldP spid="168" grpId="0" animBg="1"/>
      <p:bldP spid="169" grpId="0" animBg="1"/>
      <p:bldP spid="17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+mj-lt"/>
              </a:rPr>
              <a:t>Fault-tolerance: </a:t>
            </a:r>
            <a:r>
              <a:rPr lang="en-US" b="1" dirty="0" smtClean="0">
                <a:latin typeface="+mj-lt"/>
              </a:rPr>
              <a:t>Master</a:t>
            </a:r>
            <a:endParaRPr lang="en-US" b="1" dirty="0">
              <a:latin typeface="+mj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33400" y="1219200"/>
            <a:ext cx="9372600" cy="3352800"/>
          </a:xfrm>
          <a:prstGeom prst="rect">
            <a:avLst/>
          </a:prstGeom>
        </p:spPr>
        <p:txBody>
          <a:bodyPr/>
          <a:lstStyle/>
          <a:p>
            <a:pPr marL="909638" indent="-452438">
              <a:lnSpc>
                <a:spcPct val="150000"/>
              </a:lnSpc>
            </a:pPr>
            <a:r>
              <a:rPr lang="en-US" dirty="0" smtClean="0"/>
              <a:t>Master saves the state of the DStreams to a checkpoint file</a:t>
            </a:r>
          </a:p>
          <a:p>
            <a:pPr marL="1371600" lvl="1" indent="-457200">
              <a:lnSpc>
                <a:spcPct val="150000"/>
              </a:lnSpc>
            </a:pPr>
            <a:r>
              <a:rPr lang="en-US" sz="2000" dirty="0" smtClean="0"/>
              <a:t>Checkpoint file saved to HDFS periodically</a:t>
            </a:r>
          </a:p>
          <a:p>
            <a:pPr marL="909638" indent="-452438">
              <a:lnSpc>
                <a:spcPct val="150000"/>
              </a:lnSpc>
            </a:pPr>
            <a:r>
              <a:rPr lang="en-US" dirty="0" smtClean="0"/>
              <a:t>If </a:t>
            </a:r>
            <a:r>
              <a:rPr lang="en-US" dirty="0" smtClean="0"/>
              <a:t>master fails, it can be restarted using the checkpoint file</a:t>
            </a:r>
          </a:p>
          <a:p>
            <a:pPr marL="919163" indent="-461963">
              <a:lnSpc>
                <a:spcPct val="150000"/>
              </a:lnSpc>
            </a:pPr>
            <a:r>
              <a:rPr lang="en-US" dirty="0" smtClean="0"/>
              <a:t>More </a:t>
            </a:r>
            <a:r>
              <a:rPr lang="en-US" dirty="0" smtClean="0"/>
              <a:t>information in the Spark Streaming guide</a:t>
            </a:r>
          </a:p>
          <a:p>
            <a:pPr marL="1371600" lvl="1" indent="-457200">
              <a:lnSpc>
                <a:spcPct val="150000"/>
              </a:lnSpc>
            </a:pPr>
            <a:r>
              <a:rPr lang="en-US" sz="2000" dirty="0" smtClean="0"/>
              <a:t>Link later in the presentation</a:t>
            </a:r>
          </a:p>
          <a:p>
            <a:pPr marL="919163" indent="-461963">
              <a:lnSpc>
                <a:spcPct val="150000"/>
              </a:lnSpc>
            </a:pPr>
            <a:r>
              <a:rPr lang="en-US" dirty="0" smtClean="0"/>
              <a:t>Automated </a:t>
            </a:r>
            <a:r>
              <a:rPr lang="en-US" dirty="0" smtClean="0"/>
              <a:t>master fault recovery coming </a:t>
            </a:r>
            <a:r>
              <a:rPr lang="en-US" dirty="0" smtClean="0"/>
              <a:t>soon</a:t>
            </a:r>
            <a:endParaRPr lang="en-US" dirty="0"/>
          </a:p>
          <a:p>
            <a:pPr>
              <a:lnSpc>
                <a:spcPct val="15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5075224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4641540"/>
            <a:ext cx="9906000" cy="463860"/>
          </a:xfrm>
          <a:prstGeom prst="rect">
            <a:avLst/>
          </a:prstGeom>
          <a:gradFill rotWithShape="1">
            <a:gsLst>
              <a:gs pos="0">
                <a:srgbClr val="B5E1DF"/>
              </a:gs>
              <a:gs pos="100000">
                <a:srgbClr val="00A0D6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defTabSz="779252">
              <a:defRPr/>
            </a:pPr>
            <a:endParaRPr lang="fr-FR" sz="15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8600" y="76200"/>
            <a:ext cx="9524999" cy="533400"/>
          </a:xfrm>
        </p:spPr>
        <p:txBody>
          <a:bodyPr anchor="ctr"/>
          <a:lstStyle/>
          <a:p>
            <a:pPr lvl="0" defTabSz="-395288">
              <a:lnSpc>
                <a:spcPct val="150000"/>
              </a:lnSpc>
              <a:defRPr/>
            </a:pPr>
            <a:r>
              <a:rPr lang="en-US" b="1" dirty="0" err="1" smtClean="0">
                <a:latin typeface="+mj-lt"/>
              </a:rPr>
              <a:t>Stateful</a:t>
            </a:r>
            <a:r>
              <a:rPr lang="en-US" b="1" dirty="0" smtClean="0">
                <a:latin typeface="+mj-lt"/>
              </a:rPr>
              <a:t> Stream Processing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371600"/>
            <a:ext cx="9448800" cy="5011736"/>
          </a:xfrm>
        </p:spPr>
        <p:txBody>
          <a:bodyPr/>
          <a:lstStyle/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What </a:t>
            </a:r>
            <a:r>
              <a:rPr lang="en-US" dirty="0" smtClean="0"/>
              <a:t>is Spark streaming?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Spark </a:t>
            </a:r>
            <a:r>
              <a:rPr lang="en-US" dirty="0" smtClean="0"/>
              <a:t>streaming </a:t>
            </a:r>
            <a:r>
              <a:rPr lang="en-US" dirty="0" smtClean="0"/>
              <a:t>: How it works ?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Spark </a:t>
            </a:r>
            <a:r>
              <a:rPr lang="en-US" dirty="0" err="1" smtClean="0"/>
              <a:t>DStreams</a:t>
            </a:r>
            <a:endParaRPr lang="en-US" dirty="0" smtClean="0"/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A Twitter </a:t>
            </a:r>
            <a:r>
              <a:rPr lang="en-US" dirty="0" smtClean="0"/>
              <a:t>example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Example 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Fault-tolerance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b="1" dirty="0" err="1" smtClean="0"/>
              <a:t>Stateful</a:t>
            </a:r>
            <a:r>
              <a:rPr lang="en-US" b="1" dirty="0" smtClean="0"/>
              <a:t> Stream Processing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Q </a:t>
            </a:r>
            <a:r>
              <a:rPr lang="en-US" dirty="0" smtClean="0"/>
              <a:t>&amp; </a:t>
            </a:r>
            <a:r>
              <a:rPr lang="en-US" dirty="0" smtClean="0"/>
              <a:t>A</a:t>
            </a:r>
            <a:endParaRPr lang="en-US" dirty="0" smtClean="0"/>
          </a:p>
          <a:p>
            <a:pPr marL="909638" indent="-452438">
              <a:lnSpc>
                <a:spcPct val="150000"/>
              </a:lnSpc>
            </a:pPr>
            <a:endParaRPr lang="en-US" dirty="0" smtClean="0"/>
          </a:p>
          <a:p>
            <a:pPr marL="909638" indent="-452438">
              <a:lnSpc>
                <a:spcPct val="150000"/>
              </a:lnSpc>
            </a:pPr>
            <a:endParaRPr lang="en-US" b="1" dirty="0" smtClean="0"/>
          </a:p>
        </p:txBody>
      </p:sp>
    </p:spTree>
    <p:extLst>
      <p:ext uri="{BB962C8B-B14F-4D97-AF65-F5344CB8AC3E}">
        <p14:creationId xmlns="" xmlns:p14="http://schemas.microsoft.com/office/powerpoint/2010/main" val="7597939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b="1" dirty="0" err="1" smtClean="0">
                <a:latin typeface="+mj-lt"/>
              </a:rPr>
              <a:t>Stateful</a:t>
            </a:r>
            <a:r>
              <a:rPr lang="en-US" b="1" dirty="0">
                <a:latin typeface="+mj-lt"/>
              </a:rPr>
              <a:t> </a:t>
            </a:r>
            <a:r>
              <a:rPr lang="en-US" b="1" dirty="0" smtClean="0">
                <a:latin typeface="+mj-lt"/>
              </a:rPr>
              <a:t>Stream Processing</a:t>
            </a:r>
            <a:endParaRPr lang="en-US" b="1" dirty="0"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4294967295"/>
          </p:nvPr>
        </p:nvSpPr>
        <p:spPr>
          <a:xfrm>
            <a:off x="577850" y="1295400"/>
            <a:ext cx="4622800" cy="48768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909638" indent="-452438">
              <a:lnSpc>
                <a:spcPct val="150000"/>
              </a:lnSpc>
              <a:defRPr/>
            </a:pPr>
            <a:r>
              <a:rPr lang="en-US" dirty="0"/>
              <a:t>Traditional streaming systems have a </a:t>
            </a:r>
            <a:r>
              <a:rPr lang="en-US" dirty="0" smtClean="0">
                <a:solidFill>
                  <a:srgbClr val="1D86CD"/>
                </a:solidFill>
              </a:rPr>
              <a:t>record</a:t>
            </a:r>
            <a:r>
              <a:rPr lang="en-US" dirty="0">
                <a:solidFill>
                  <a:srgbClr val="1D86CD"/>
                </a:solidFill>
              </a:rPr>
              <a:t>-at-a-time</a:t>
            </a:r>
            <a:r>
              <a:rPr lang="en-US" dirty="0"/>
              <a:t> processing model</a:t>
            </a:r>
          </a:p>
          <a:p>
            <a:pPr marL="1371600" lvl="1" indent="-457200">
              <a:lnSpc>
                <a:spcPct val="150000"/>
              </a:lnSpc>
              <a:defRPr/>
            </a:pPr>
            <a:r>
              <a:rPr lang="en-US" dirty="0"/>
              <a:t>Each node has mutable state</a:t>
            </a:r>
          </a:p>
          <a:p>
            <a:pPr marL="1371600" lvl="1" indent="-457200">
              <a:lnSpc>
                <a:spcPct val="150000"/>
              </a:lnSpc>
              <a:defRPr/>
            </a:pPr>
            <a:r>
              <a:rPr lang="en-US" dirty="0"/>
              <a:t>For each record, update state </a:t>
            </a:r>
            <a:r>
              <a:rPr lang="en-US" dirty="0" smtClean="0"/>
              <a:t>and </a:t>
            </a:r>
            <a:r>
              <a:rPr lang="en-US" dirty="0"/>
              <a:t>send new </a:t>
            </a:r>
            <a:r>
              <a:rPr lang="en-US" dirty="0" smtClean="0"/>
              <a:t>records</a:t>
            </a:r>
          </a:p>
          <a:p>
            <a:pPr marL="919163" indent="-461963">
              <a:lnSpc>
                <a:spcPct val="150000"/>
              </a:lnSpc>
              <a:defRPr/>
            </a:pPr>
            <a:r>
              <a:rPr lang="en-US" dirty="0" smtClean="0"/>
              <a:t>State is lost if node </a:t>
            </a:r>
            <a:r>
              <a:rPr lang="en-US" dirty="0" smtClean="0"/>
              <a:t>dies!</a:t>
            </a:r>
          </a:p>
          <a:p>
            <a:pPr marL="919163" indent="-461963">
              <a:lnSpc>
                <a:spcPct val="150000"/>
              </a:lnSpc>
              <a:defRPr/>
            </a:pPr>
            <a:r>
              <a:rPr lang="en-US" dirty="0" smtClean="0"/>
              <a:t>Making </a:t>
            </a:r>
            <a:r>
              <a:rPr lang="en-US" dirty="0" err="1" smtClean="0"/>
              <a:t>stateful</a:t>
            </a:r>
            <a:r>
              <a:rPr lang="en-US" dirty="0" smtClean="0"/>
              <a:t> stream processing be fault-tolerant is challenging</a:t>
            </a:r>
          </a:p>
          <a:p>
            <a:pPr marL="1371600" lvl="1" indent="-457200">
              <a:defRPr/>
            </a:pPr>
            <a:endParaRPr lang="en-US" dirty="0"/>
          </a:p>
        </p:txBody>
      </p:sp>
      <p:sp>
        <p:nvSpPr>
          <p:cNvPr id="12292" name="Slide Number Placeholder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594600" y="6356351"/>
            <a:ext cx="23114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8" tIns="45719" rIns="91438" bIns="45719"/>
          <a:lstStyle>
            <a:lvl1pPr eaLnBrk="0" hangingPunct="0">
              <a:defRPr sz="5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312039" indent="-120015" eaLnBrk="0" hangingPunct="0">
              <a:defRPr sz="5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480060" indent="-96012" eaLnBrk="0" hangingPunct="0">
              <a:defRPr sz="5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672084" indent="-96012" eaLnBrk="0" hangingPunct="0">
              <a:defRPr sz="5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864108" indent="-96012" eaLnBrk="0" hangingPunct="0">
              <a:defRPr sz="5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1056132" indent="-96012" eaLnBrk="0" fontAlgn="base" hangingPunct="0">
              <a:spcBef>
                <a:spcPct val="0"/>
              </a:spcBef>
              <a:spcAft>
                <a:spcPct val="0"/>
              </a:spcAft>
              <a:defRPr sz="5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1248156" indent="-96012" eaLnBrk="0" fontAlgn="base" hangingPunct="0">
              <a:spcBef>
                <a:spcPct val="0"/>
              </a:spcBef>
              <a:spcAft>
                <a:spcPct val="0"/>
              </a:spcAft>
              <a:defRPr sz="5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1440180" indent="-96012" eaLnBrk="0" fontAlgn="base" hangingPunct="0">
              <a:spcBef>
                <a:spcPct val="0"/>
              </a:spcBef>
              <a:spcAft>
                <a:spcPct val="0"/>
              </a:spcAft>
              <a:defRPr sz="5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1632204" indent="-96012" eaLnBrk="0" fontAlgn="base" hangingPunct="0">
              <a:spcBef>
                <a:spcPct val="0"/>
              </a:spcBef>
              <a:spcAft>
                <a:spcPct val="0"/>
              </a:spcAft>
              <a:defRPr sz="5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fld id="{19785054-2D5C-EA46-84B9-22F0A59151F5}" type="slidenum">
              <a:rPr lang="en-US"/>
              <a:pPr eaLnBrk="1" hangingPunct="1"/>
              <a:t>23</a:t>
            </a:fld>
            <a:endParaRPr lang="en-US"/>
          </a:p>
        </p:txBody>
      </p:sp>
      <p:grpSp>
        <p:nvGrpSpPr>
          <p:cNvPr id="4" name="Group 60"/>
          <p:cNvGrpSpPr>
            <a:grpSpLocks/>
          </p:cNvGrpSpPr>
          <p:nvPr/>
        </p:nvGrpSpPr>
        <p:grpSpPr bwMode="auto">
          <a:xfrm>
            <a:off x="5196431" y="1524001"/>
            <a:ext cx="4400007" cy="3391298"/>
            <a:chOff x="11732266" y="4648200"/>
            <a:chExt cx="10830859" cy="7165216"/>
          </a:xfrm>
        </p:grpSpPr>
        <p:cxnSp>
          <p:nvCxnSpPr>
            <p:cNvPr id="38" name="Straight Arrow Connector 37"/>
            <p:cNvCxnSpPr/>
            <p:nvPr/>
          </p:nvCxnSpPr>
          <p:spPr>
            <a:xfrm flipV="1">
              <a:off x="16603610" y="8610232"/>
              <a:ext cx="2370154" cy="1828630"/>
            </a:xfrm>
            <a:prstGeom prst="straightConnector1">
              <a:avLst/>
            </a:prstGeom>
            <a:ln w="38100" cmpd="sng">
              <a:solidFill>
                <a:schemeClr val="tx1"/>
              </a:solidFill>
              <a:headEnd type="none"/>
              <a:tailEnd type="triangle" w="med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2294" name="Picture 3"/>
            <p:cNvPicPr>
              <a:picLocks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832977" y="7293667"/>
              <a:ext cx="2571328" cy="20623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295" name="Picture 4"/>
            <p:cNvPicPr>
              <a:picLocks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15044" y="5679338"/>
              <a:ext cx="2571328" cy="20623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5" name="Group 38"/>
            <p:cNvGrpSpPr>
              <a:grpSpLocks/>
            </p:cNvGrpSpPr>
            <p:nvPr/>
          </p:nvGrpSpPr>
          <p:grpSpPr bwMode="auto">
            <a:xfrm>
              <a:off x="15711471" y="5553798"/>
              <a:ext cx="1361531" cy="997598"/>
              <a:chOff x="10831048" y="7049891"/>
              <a:chExt cx="1361531" cy="997598"/>
            </a:xfrm>
          </p:grpSpPr>
          <p:sp>
            <p:nvSpPr>
              <p:cNvPr id="7" name="Rectangle 6"/>
              <p:cNvSpPr/>
              <p:nvPr/>
            </p:nvSpPr>
            <p:spPr>
              <a:xfrm>
                <a:off x="10831006" y="7050672"/>
                <a:ext cx="1362084" cy="996857"/>
              </a:xfrm>
              <a:prstGeom prst="rect">
                <a:avLst/>
              </a:prstGeom>
              <a:ln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217709" tIns="108855" rIns="217709" bIns="108855" anchor="ctr"/>
              <a:lstStyle/>
              <a:p>
                <a:pPr algn="ctr">
                  <a:defRPr/>
                </a:pPr>
                <a:endParaRPr lang="en-US" sz="1600">
                  <a:solidFill>
                    <a:prstClr val="black"/>
                  </a:solidFill>
                  <a:latin typeface="Calibri"/>
                  <a:ea typeface="ヒラギノ角ゴ ProN W3"/>
                  <a:cs typeface="Calibri"/>
                </a:endParaRPr>
              </a:p>
            </p:txBody>
          </p:sp>
          <p:cxnSp>
            <p:nvCxnSpPr>
              <p:cNvPr id="8" name="Straight Connector 7"/>
              <p:cNvCxnSpPr/>
              <p:nvPr/>
            </p:nvCxnSpPr>
            <p:spPr>
              <a:xfrm>
                <a:off x="10831006" y="7655453"/>
                <a:ext cx="1362084" cy="0"/>
              </a:xfrm>
              <a:prstGeom prst="line">
                <a:avLst/>
              </a:prstGeom>
              <a:solidFill>
                <a:srgbClr val="617AD2"/>
              </a:solidFill>
              <a:ln w="9525" cmpd="sng">
                <a:solidFill>
                  <a:schemeClr val="tx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8"/>
              <p:cNvCxnSpPr/>
              <p:nvPr/>
            </p:nvCxnSpPr>
            <p:spPr>
              <a:xfrm>
                <a:off x="10831006" y="7452271"/>
                <a:ext cx="1362084" cy="0"/>
              </a:xfrm>
              <a:prstGeom prst="line">
                <a:avLst/>
              </a:prstGeom>
              <a:solidFill>
                <a:srgbClr val="617AD2"/>
              </a:solidFill>
              <a:ln w="9525" cmpd="sng">
                <a:solidFill>
                  <a:schemeClr val="tx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/>
              <p:cNvCxnSpPr/>
              <p:nvPr/>
            </p:nvCxnSpPr>
            <p:spPr>
              <a:xfrm>
                <a:off x="10831006" y="7858634"/>
                <a:ext cx="1362084" cy="0"/>
              </a:xfrm>
              <a:prstGeom prst="line">
                <a:avLst/>
              </a:prstGeom>
              <a:solidFill>
                <a:srgbClr val="617AD2"/>
              </a:solidFill>
              <a:ln w="9525" cmpd="sng">
                <a:solidFill>
                  <a:schemeClr val="tx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/>
              <p:cNvCxnSpPr/>
              <p:nvPr/>
            </p:nvCxnSpPr>
            <p:spPr>
              <a:xfrm>
                <a:off x="10831006" y="7247504"/>
                <a:ext cx="1362084" cy="0"/>
              </a:xfrm>
              <a:prstGeom prst="line">
                <a:avLst/>
              </a:prstGeom>
              <a:solidFill>
                <a:srgbClr val="617AD2"/>
              </a:solidFill>
              <a:ln w="9525" cmpd="sng">
                <a:solidFill>
                  <a:schemeClr val="tx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oup 39"/>
            <p:cNvGrpSpPr>
              <a:grpSpLocks/>
            </p:cNvGrpSpPr>
            <p:nvPr/>
          </p:nvGrpSpPr>
          <p:grpSpPr bwMode="auto">
            <a:xfrm>
              <a:off x="19832273" y="7010400"/>
              <a:ext cx="1361531" cy="997598"/>
              <a:chOff x="16944568" y="7932179"/>
              <a:chExt cx="1361531" cy="997598"/>
            </a:xfrm>
          </p:grpSpPr>
          <p:sp>
            <p:nvSpPr>
              <p:cNvPr id="13" name="Rectangle 12"/>
              <p:cNvSpPr/>
              <p:nvPr/>
            </p:nvSpPr>
            <p:spPr>
              <a:xfrm>
                <a:off x="16944902" y="7931960"/>
                <a:ext cx="1360497" cy="998445"/>
              </a:xfrm>
              <a:prstGeom prst="rect">
                <a:avLst/>
              </a:prstGeom>
              <a:ln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217709" tIns="108855" rIns="217709" bIns="108855" anchor="ctr"/>
              <a:lstStyle/>
              <a:p>
                <a:pPr algn="ctr">
                  <a:defRPr/>
                </a:pPr>
                <a:endParaRPr lang="en-US" sz="1600">
                  <a:solidFill>
                    <a:prstClr val="black"/>
                  </a:solidFill>
                  <a:latin typeface="Calibri"/>
                  <a:ea typeface="ヒラギノ角ゴ ProN W3"/>
                  <a:cs typeface="Calibri"/>
                </a:endParaRPr>
              </a:p>
            </p:txBody>
          </p:sp>
          <p:cxnSp>
            <p:nvCxnSpPr>
              <p:cNvPr id="14" name="Straight Connector 13"/>
              <p:cNvCxnSpPr/>
              <p:nvPr/>
            </p:nvCxnSpPr>
            <p:spPr>
              <a:xfrm>
                <a:off x="16944902" y="8536742"/>
                <a:ext cx="1360497" cy="0"/>
              </a:xfrm>
              <a:prstGeom prst="line">
                <a:avLst/>
              </a:prstGeom>
              <a:solidFill>
                <a:srgbClr val="617AD2"/>
              </a:solidFill>
              <a:ln w="9525" cmpd="sng">
                <a:solidFill>
                  <a:schemeClr val="tx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/>
            </p:nvCxnSpPr>
            <p:spPr>
              <a:xfrm>
                <a:off x="16944902" y="8333561"/>
                <a:ext cx="1360497" cy="0"/>
              </a:xfrm>
              <a:prstGeom prst="line">
                <a:avLst/>
              </a:prstGeom>
              <a:solidFill>
                <a:srgbClr val="617AD2"/>
              </a:solidFill>
              <a:ln w="9525" cmpd="sng">
                <a:solidFill>
                  <a:schemeClr val="tx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/>
              <p:cNvCxnSpPr/>
              <p:nvPr/>
            </p:nvCxnSpPr>
            <p:spPr>
              <a:xfrm>
                <a:off x="16944902" y="8741510"/>
                <a:ext cx="1360497" cy="0"/>
              </a:xfrm>
              <a:prstGeom prst="line">
                <a:avLst/>
              </a:prstGeom>
              <a:solidFill>
                <a:srgbClr val="617AD2"/>
              </a:solidFill>
              <a:ln w="9525" cmpd="sng">
                <a:solidFill>
                  <a:schemeClr val="tx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/>
              <p:cNvCxnSpPr/>
              <p:nvPr/>
            </p:nvCxnSpPr>
            <p:spPr>
              <a:xfrm>
                <a:off x="16944902" y="8130380"/>
                <a:ext cx="1360497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</p:grpSp>
        <p:cxnSp>
          <p:nvCxnSpPr>
            <p:cNvPr id="18" name="Straight Arrow Connector 17"/>
            <p:cNvCxnSpPr/>
            <p:nvPr/>
          </p:nvCxnSpPr>
          <p:spPr>
            <a:xfrm>
              <a:off x="13403189" y="6629216"/>
              <a:ext cx="1301759" cy="17461"/>
            </a:xfrm>
            <a:prstGeom prst="straightConnector1">
              <a:avLst/>
            </a:prstGeom>
            <a:ln w="38100" cmpd="sng">
              <a:solidFill>
                <a:schemeClr val="tx1"/>
              </a:solidFill>
              <a:headEnd type="none"/>
              <a:tailEnd type="triangle" w="med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Arc 18"/>
            <p:cNvSpPr/>
            <p:nvPr/>
          </p:nvSpPr>
          <p:spPr>
            <a:xfrm>
              <a:off x="14553898" y="5586007"/>
              <a:ext cx="1056754" cy="788914"/>
            </a:xfrm>
            <a:prstGeom prst="arc">
              <a:avLst>
                <a:gd name="adj1" fmla="val 2504094"/>
                <a:gd name="adj2" fmla="val 19406337"/>
              </a:avLst>
            </a:prstGeom>
            <a:ln w="38100" cmpd="sng">
              <a:solidFill>
                <a:schemeClr val="tx1"/>
              </a:solidFill>
              <a:headEnd type="none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lIns="217709" tIns="108855" rIns="217709" bIns="108855" anchor="ctr"/>
            <a:lstStyle/>
            <a:p>
              <a:pPr algn="ctr">
                <a:defRPr/>
              </a:pPr>
              <a:endParaRPr lang="en-US" sz="1600">
                <a:solidFill>
                  <a:prstClr val="black"/>
                </a:solidFill>
                <a:latin typeface="Calibri"/>
                <a:ea typeface="ヒラギノ角ゴ ProN W3"/>
                <a:cs typeface="Calibri"/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>
              <a:off x="16679811" y="6781602"/>
              <a:ext cx="2293953" cy="1371473"/>
            </a:xfrm>
            <a:prstGeom prst="straightConnector1">
              <a:avLst/>
            </a:prstGeom>
            <a:ln w="38100" cmpd="sng">
              <a:solidFill>
                <a:schemeClr val="tx1"/>
              </a:solidFill>
              <a:headEnd type="none"/>
              <a:tailEnd type="triangle" w="med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Arc 20"/>
            <p:cNvSpPr/>
            <p:nvPr/>
          </p:nvSpPr>
          <p:spPr>
            <a:xfrm>
              <a:off x="18679837" y="7198757"/>
              <a:ext cx="1056754" cy="790503"/>
            </a:xfrm>
            <a:prstGeom prst="arc">
              <a:avLst>
                <a:gd name="adj1" fmla="val 2504094"/>
                <a:gd name="adj2" fmla="val 19406337"/>
              </a:avLst>
            </a:prstGeom>
            <a:ln w="38100" cmpd="sng">
              <a:solidFill>
                <a:schemeClr val="tx1"/>
              </a:solidFill>
              <a:headEnd type="none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lIns="217709" tIns="108855" rIns="217709" bIns="108855" anchor="ctr"/>
            <a:lstStyle/>
            <a:p>
              <a:pPr algn="ctr">
                <a:defRPr/>
              </a:pPr>
              <a:endParaRPr lang="en-US" sz="1600">
                <a:solidFill>
                  <a:prstClr val="black"/>
                </a:solidFill>
                <a:latin typeface="Calibri"/>
                <a:ea typeface="ヒラギノ角ゴ ProN W3"/>
                <a:cs typeface="Calibri"/>
              </a:endParaRPr>
            </a:p>
          </p:txBody>
        </p:sp>
        <p:sp>
          <p:nvSpPr>
            <p:cNvPr id="12302" name="TextBox 21"/>
            <p:cNvSpPr txBox="1">
              <a:spLocks noChangeArrowheads="1"/>
            </p:cNvSpPr>
            <p:nvPr/>
          </p:nvSpPr>
          <p:spPr bwMode="auto">
            <a:xfrm>
              <a:off x="14555392" y="4648200"/>
              <a:ext cx="3907049" cy="984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17709" tIns="108855" rIns="217709" bIns="108855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r>
                <a:rPr lang="en-US" sz="1600">
                  <a:latin typeface="Calibri" charset="0"/>
                  <a:cs typeface="Calibri" charset="0"/>
                </a:rPr>
                <a:t>mutable state</a:t>
              </a:r>
            </a:p>
          </p:txBody>
        </p:sp>
        <p:sp>
          <p:nvSpPr>
            <p:cNvPr id="12303" name="TextBox 23"/>
            <p:cNvSpPr txBox="1">
              <a:spLocks noChangeArrowheads="1"/>
            </p:cNvSpPr>
            <p:nvPr/>
          </p:nvSpPr>
          <p:spPr bwMode="auto">
            <a:xfrm>
              <a:off x="14681679" y="7487453"/>
              <a:ext cx="2133353" cy="7989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65313" rIns="0" bIns="65313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sz="1600">
                  <a:latin typeface="Calibri" charset="0"/>
                  <a:cs typeface="Calibri" charset="0"/>
                </a:rPr>
                <a:t>node 1</a:t>
              </a:r>
            </a:p>
          </p:txBody>
        </p:sp>
        <p:sp>
          <p:nvSpPr>
            <p:cNvPr id="12304" name="TextBox 24"/>
            <p:cNvSpPr txBox="1">
              <a:spLocks noChangeArrowheads="1"/>
            </p:cNvSpPr>
            <p:nvPr/>
          </p:nvSpPr>
          <p:spPr bwMode="auto">
            <a:xfrm>
              <a:off x="18821402" y="9060691"/>
              <a:ext cx="2133353" cy="798907"/>
            </a:xfrm>
            <a:prstGeom prst="rect">
              <a:avLst/>
            </a:prstGeom>
            <a:noFill/>
            <a:ln w="635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0" tIns="65313" rIns="0" bIns="65313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sz="1600">
                  <a:latin typeface="Calibri" charset="0"/>
                  <a:cs typeface="Calibri" charset="0"/>
                </a:rPr>
                <a:t>node 3</a:t>
              </a:r>
            </a:p>
          </p:txBody>
        </p:sp>
        <p:sp>
          <p:nvSpPr>
            <p:cNvPr id="12305" name="TextBox 25"/>
            <p:cNvSpPr txBox="1">
              <a:spLocks noChangeArrowheads="1"/>
            </p:cNvSpPr>
            <p:nvPr/>
          </p:nvSpPr>
          <p:spPr bwMode="auto">
            <a:xfrm>
              <a:off x="11732266" y="5786568"/>
              <a:ext cx="2074032" cy="1504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108855" rIns="217709" bIns="108855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sz="1600">
                  <a:latin typeface="Calibri" charset="0"/>
                  <a:cs typeface="Calibri" charset="0"/>
                </a:rPr>
                <a:t>input </a:t>
              </a:r>
            </a:p>
            <a:p>
              <a:pPr algn="ctr" eaLnBrk="1" hangingPunct="1"/>
              <a:r>
                <a:rPr lang="en-US" sz="1600">
                  <a:latin typeface="Calibri" charset="0"/>
                  <a:cs typeface="Calibri" charset="0"/>
                </a:rPr>
                <a:t>records</a:t>
              </a: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20954977" y="8419750"/>
              <a:ext cx="1608148" cy="0"/>
            </a:xfrm>
            <a:prstGeom prst="straightConnector1">
              <a:avLst/>
            </a:prstGeom>
            <a:ln w="38100" cmpd="sng">
              <a:solidFill>
                <a:schemeClr val="tx1"/>
              </a:solidFill>
              <a:headEnd type="none"/>
              <a:tailEnd type="triangle" w="med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2307" name="Picture 29"/>
            <p:cNvPicPr>
              <a:picLocks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73530" y="9243126"/>
              <a:ext cx="2571328" cy="20623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2" name="Group 28"/>
            <p:cNvGrpSpPr>
              <a:grpSpLocks/>
            </p:cNvGrpSpPr>
            <p:nvPr/>
          </p:nvGrpSpPr>
          <p:grpSpPr bwMode="auto">
            <a:xfrm>
              <a:off x="15672826" y="9072290"/>
              <a:ext cx="1361531" cy="997598"/>
              <a:chOff x="10792403" y="10568383"/>
              <a:chExt cx="1361531" cy="997598"/>
            </a:xfrm>
          </p:grpSpPr>
          <p:sp>
            <p:nvSpPr>
              <p:cNvPr id="31" name="Rectangle 30"/>
              <p:cNvSpPr/>
              <p:nvPr/>
            </p:nvSpPr>
            <p:spPr>
              <a:xfrm>
                <a:off x="10792906" y="10568245"/>
                <a:ext cx="1360497" cy="998444"/>
              </a:xfrm>
              <a:prstGeom prst="rect">
                <a:avLst/>
              </a:prstGeom>
              <a:ln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217709" tIns="108855" rIns="217709" bIns="108855" anchor="ctr"/>
              <a:lstStyle/>
              <a:p>
                <a:pPr algn="ctr">
                  <a:defRPr/>
                </a:pPr>
                <a:endParaRPr lang="en-US" sz="1600">
                  <a:solidFill>
                    <a:prstClr val="black"/>
                  </a:solidFill>
                  <a:latin typeface="Calibri"/>
                  <a:ea typeface="ヒラギノ角ゴ ProN W3"/>
                  <a:cs typeface="Calibri"/>
                </a:endParaRPr>
              </a:p>
            </p:txBody>
          </p:sp>
          <p:cxnSp>
            <p:nvCxnSpPr>
              <p:cNvPr id="32" name="Straight Connector 31"/>
              <p:cNvCxnSpPr/>
              <p:nvPr/>
            </p:nvCxnSpPr>
            <p:spPr>
              <a:xfrm>
                <a:off x="10792906" y="11173026"/>
                <a:ext cx="1360497" cy="0"/>
              </a:xfrm>
              <a:prstGeom prst="line">
                <a:avLst/>
              </a:prstGeom>
              <a:solidFill>
                <a:srgbClr val="617AD2"/>
              </a:solidFill>
              <a:ln w="9525" cmpd="sng">
                <a:solidFill>
                  <a:schemeClr val="tx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/>
            </p:nvCxnSpPr>
            <p:spPr>
              <a:xfrm>
                <a:off x="10792906" y="10969845"/>
                <a:ext cx="1360497" cy="0"/>
              </a:xfrm>
              <a:prstGeom prst="line">
                <a:avLst/>
              </a:prstGeom>
              <a:solidFill>
                <a:srgbClr val="617AD2"/>
              </a:solidFill>
              <a:ln w="9525" cmpd="sng">
                <a:solidFill>
                  <a:schemeClr val="tx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/>
              <p:cNvCxnSpPr/>
              <p:nvPr/>
            </p:nvCxnSpPr>
            <p:spPr>
              <a:xfrm>
                <a:off x="10792906" y="11377795"/>
                <a:ext cx="1360497" cy="0"/>
              </a:xfrm>
              <a:prstGeom prst="line">
                <a:avLst/>
              </a:prstGeom>
              <a:solidFill>
                <a:srgbClr val="617AD2"/>
              </a:solidFill>
              <a:ln w="9525" cmpd="sng">
                <a:solidFill>
                  <a:schemeClr val="tx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/>
              <p:cNvCxnSpPr/>
              <p:nvPr/>
            </p:nvCxnSpPr>
            <p:spPr>
              <a:xfrm>
                <a:off x="10792906" y="10768251"/>
                <a:ext cx="1360497" cy="0"/>
              </a:xfrm>
              <a:prstGeom prst="line">
                <a:avLst/>
              </a:prstGeom>
              <a:solidFill>
                <a:srgbClr val="617AD2"/>
              </a:solidFill>
              <a:ln w="9525" cmpd="sng">
                <a:solidFill>
                  <a:schemeClr val="tx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6" name="Arc 35"/>
            <p:cNvSpPr/>
            <p:nvPr/>
          </p:nvSpPr>
          <p:spPr>
            <a:xfrm>
              <a:off x="14520559" y="9108340"/>
              <a:ext cx="1056754" cy="790503"/>
            </a:xfrm>
            <a:prstGeom prst="arc">
              <a:avLst>
                <a:gd name="adj1" fmla="val 2504094"/>
                <a:gd name="adj2" fmla="val 19406337"/>
              </a:avLst>
            </a:prstGeom>
            <a:ln w="38100" cmpd="sng">
              <a:solidFill>
                <a:schemeClr val="tx1"/>
              </a:solidFill>
              <a:headEnd type="none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lIns="217709" tIns="108855" rIns="217709" bIns="108855" anchor="ctr"/>
            <a:lstStyle/>
            <a:p>
              <a:pPr algn="ctr">
                <a:defRPr/>
              </a:pPr>
              <a:endParaRPr lang="en-US" sz="1600">
                <a:solidFill>
                  <a:prstClr val="black"/>
                </a:solidFill>
                <a:latin typeface="Calibri"/>
                <a:ea typeface="ヒラギノ角ゴ ProN W3"/>
                <a:cs typeface="Calibri"/>
              </a:endParaRPr>
            </a:p>
          </p:txBody>
        </p:sp>
        <p:sp>
          <p:nvSpPr>
            <p:cNvPr id="12310" name="TextBox 36"/>
            <p:cNvSpPr txBox="1">
              <a:spLocks noChangeArrowheads="1"/>
            </p:cNvSpPr>
            <p:nvPr/>
          </p:nvSpPr>
          <p:spPr bwMode="auto">
            <a:xfrm>
              <a:off x="14661952" y="11014509"/>
              <a:ext cx="2133353" cy="7989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65313" rIns="0" bIns="65313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sz="1600">
                  <a:latin typeface="Calibri" charset="0"/>
                  <a:cs typeface="Calibri" charset="0"/>
                </a:rPr>
                <a:t>node 2</a:t>
              </a:r>
            </a:p>
          </p:txBody>
        </p:sp>
        <p:cxnSp>
          <p:nvCxnSpPr>
            <p:cNvPr id="42" name="Straight Arrow Connector 41"/>
            <p:cNvCxnSpPr/>
            <p:nvPr/>
          </p:nvCxnSpPr>
          <p:spPr>
            <a:xfrm>
              <a:off x="13403189" y="10195998"/>
              <a:ext cx="1258896" cy="0"/>
            </a:xfrm>
            <a:prstGeom prst="straightConnector1">
              <a:avLst/>
            </a:prstGeom>
            <a:ln w="38100" cmpd="sng">
              <a:solidFill>
                <a:schemeClr val="tx1"/>
              </a:solidFill>
              <a:headEnd type="none"/>
              <a:tailEnd type="triangle" w="med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312" name="TextBox 48"/>
            <p:cNvSpPr txBox="1">
              <a:spLocks noChangeArrowheads="1"/>
            </p:cNvSpPr>
            <p:nvPr/>
          </p:nvSpPr>
          <p:spPr bwMode="auto">
            <a:xfrm>
              <a:off x="11796904" y="9367970"/>
              <a:ext cx="2074032" cy="1504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108855" rIns="217709" bIns="108855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sz="1600" dirty="0">
                  <a:latin typeface="Calibri" charset="0"/>
                  <a:cs typeface="Calibri" charset="0"/>
                </a:rPr>
                <a:t>input </a:t>
              </a:r>
            </a:p>
            <a:p>
              <a:pPr algn="ctr" eaLnBrk="1" hangingPunct="1"/>
              <a:r>
                <a:rPr lang="en-US" sz="1600" dirty="0">
                  <a:latin typeface="Calibri" charset="0"/>
                  <a:cs typeface="Calibri" charset="0"/>
                </a:rPr>
                <a:t>records</a:t>
              </a:r>
            </a:p>
          </p:txBody>
        </p:sp>
      </p:grpSp>
      <p:sp>
        <p:nvSpPr>
          <p:cNvPr id="41" name="Content Placeholder 2"/>
          <p:cNvSpPr txBox="1">
            <a:spLocks/>
          </p:cNvSpPr>
          <p:nvPr/>
        </p:nvSpPr>
        <p:spPr bwMode="auto">
          <a:xfrm>
            <a:off x="583166" y="4391080"/>
            <a:ext cx="6149818" cy="1897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25374" indent="-192024" algn="l" rtl="0" eaLnBrk="0" fontAlgn="base" hangingPunct="0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Wingdings" charset="0"/>
              <a:buChar char="§"/>
              <a:defRPr sz="2400">
                <a:solidFill>
                  <a:srgbClr val="0C0F20"/>
                </a:solidFill>
                <a:latin typeface="Calibri"/>
                <a:ea typeface="+mn-ea"/>
                <a:cs typeface="Calibri"/>
                <a:sym typeface="Arial" charset="0"/>
              </a:defRPr>
            </a:lvl1pPr>
            <a:lvl2pPr marL="512064" indent="-192024" algn="l" rtl="0" eaLnBrk="0" fontAlgn="base" hangingPunct="0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2000">
                <a:solidFill>
                  <a:srgbClr val="0C0F20"/>
                </a:solidFill>
                <a:latin typeface="Calibri"/>
                <a:ea typeface="+mn-ea"/>
                <a:cs typeface="Calibri"/>
                <a:sym typeface="Arial" charset="0"/>
              </a:defRPr>
            </a:lvl2pPr>
            <a:lvl3pPr marL="698754" indent="-192024" algn="l" rtl="0" eaLnBrk="0" fontAlgn="base" hangingPunct="0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1800">
                <a:solidFill>
                  <a:srgbClr val="0C0F20"/>
                </a:solidFill>
                <a:latin typeface="Calibri"/>
                <a:ea typeface="+mn-ea"/>
                <a:cs typeface="Calibri"/>
                <a:sym typeface="Arial" charset="0"/>
              </a:defRPr>
            </a:lvl3pPr>
            <a:lvl4pPr marL="885444" indent="-192024" algn="l" rtl="0" eaLnBrk="0" fontAlgn="base" hangingPunct="0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1600">
                <a:solidFill>
                  <a:srgbClr val="0C0F20"/>
                </a:solidFill>
                <a:latin typeface="Calibri"/>
                <a:ea typeface="+mn-ea"/>
                <a:cs typeface="Calibri"/>
                <a:sym typeface="Arial" charset="0"/>
              </a:defRPr>
            </a:lvl4pPr>
            <a:lvl5pPr marL="1072134" indent="-192024" algn="l" rtl="0" eaLnBrk="0" fontAlgn="base" hangingPunct="0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18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5pPr>
            <a:lvl6pPr marL="1264158" indent="-192024" algn="l" rtl="0" fontAlgn="base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18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6pPr>
            <a:lvl7pPr marL="1456182" indent="-192024" algn="l" rtl="0" fontAlgn="base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18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7pPr>
            <a:lvl8pPr marL="1648206" indent="-192024" algn="l" rtl="0" fontAlgn="base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18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8pPr>
            <a:lvl9pPr marL="1840230" indent="-192024" algn="l" rtl="0" fontAlgn="base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18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43" name="TextBox 42"/>
          <p:cNvSpPr txBox="1"/>
          <p:nvPr/>
        </p:nvSpPr>
        <p:spPr>
          <a:xfrm>
            <a:off x="8950175" y="6139934"/>
            <a:ext cx="80342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Source:databricks</a:t>
            </a:r>
            <a:endParaRPr lang="en-US" sz="6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76394664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type="body" sz="quarter" idx="4294967295"/>
          </p:nvPr>
        </p:nvSpPr>
        <p:spPr>
          <a:xfrm>
            <a:off x="577850" y="1447800"/>
            <a:ext cx="8750300" cy="3276600"/>
          </a:xfrm>
          <a:prstGeom prst="rect">
            <a:avLst/>
          </a:prstGeom>
        </p:spPr>
        <p:txBody>
          <a:bodyPr/>
          <a:lstStyle/>
          <a:p>
            <a:pPr marL="914400" lvl="2" indent="-457200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en-US" sz="2000" dirty="0">
                <a:solidFill>
                  <a:prstClr val="black"/>
                </a:solidFill>
              </a:rPr>
              <a:t>Specify function to generate new state based on previous state and new </a:t>
            </a:r>
            <a:r>
              <a:rPr lang="en-US" sz="2000" dirty="0" smtClean="0">
                <a:solidFill>
                  <a:prstClr val="black"/>
                </a:solidFill>
              </a:rPr>
              <a:t>data</a:t>
            </a:r>
            <a:endParaRPr lang="en-US" sz="2000" dirty="0">
              <a:cs typeface="Consolas"/>
            </a:endParaRPr>
          </a:p>
          <a:p>
            <a:pPr marL="1371600" lvl="1" indent="-457200">
              <a:lnSpc>
                <a:spcPct val="150000"/>
              </a:lnSpc>
              <a:defRPr/>
            </a:pPr>
            <a:r>
              <a:rPr lang="en-US" sz="2000" dirty="0" smtClean="0"/>
              <a:t>Example: </a:t>
            </a:r>
            <a:r>
              <a:rPr lang="en-US" sz="2000" dirty="0"/>
              <a:t>Maintain per-user mood as state, </a:t>
            </a:r>
            <a:r>
              <a:rPr lang="en-US" sz="2000" dirty="0" smtClean="0"/>
              <a:t>and update </a:t>
            </a:r>
            <a:r>
              <a:rPr lang="en-US" sz="2000" dirty="0"/>
              <a:t>it with </a:t>
            </a:r>
            <a:r>
              <a:rPr lang="en-US" sz="2000" dirty="0" smtClean="0"/>
              <a:t>their tweets</a:t>
            </a:r>
          </a:p>
          <a:p>
            <a:pPr marL="912813" indent="0">
              <a:lnSpc>
                <a:spcPct val="150000"/>
              </a:lnSpc>
              <a:buNone/>
              <a:defRPr/>
            </a:pPr>
            <a:r>
              <a:rPr lang="en-US" dirty="0" err="1" smtClean="0">
                <a:solidFill>
                  <a:schemeClr val="accent4"/>
                </a:solidFill>
                <a:cs typeface="Consolas"/>
              </a:rPr>
              <a:t>updateMood</a:t>
            </a:r>
            <a:r>
              <a:rPr lang="en-US" dirty="0" smtClean="0">
                <a:cs typeface="Consolas"/>
              </a:rPr>
              <a:t>(</a:t>
            </a:r>
            <a:r>
              <a:rPr lang="en-US" dirty="0" err="1" smtClean="0">
                <a:cs typeface="Consolas"/>
              </a:rPr>
              <a:t>newTweets</a:t>
            </a:r>
            <a:r>
              <a:rPr lang="en-US" dirty="0">
                <a:cs typeface="Consolas"/>
              </a:rPr>
              <a:t>, </a:t>
            </a:r>
            <a:r>
              <a:rPr lang="en-US" dirty="0" err="1">
                <a:cs typeface="Consolas"/>
              </a:rPr>
              <a:t>lastMood</a:t>
            </a:r>
            <a:r>
              <a:rPr lang="en-US" dirty="0">
                <a:cs typeface="Consolas"/>
              </a:rPr>
              <a:t>) =&gt; </a:t>
            </a:r>
            <a:r>
              <a:rPr lang="en-US" dirty="0" err="1" smtClean="0">
                <a:cs typeface="Consolas"/>
              </a:rPr>
              <a:t>newMood</a:t>
            </a:r>
            <a:endParaRPr lang="en-US" dirty="0" smtClean="0">
              <a:cs typeface="Consolas"/>
            </a:endParaRPr>
          </a:p>
          <a:p>
            <a:pPr marL="912813" indent="0">
              <a:lnSpc>
                <a:spcPct val="150000"/>
              </a:lnSpc>
              <a:buNone/>
              <a:defRPr/>
            </a:pPr>
            <a:r>
              <a:rPr lang="en-US" dirty="0" smtClean="0">
                <a:solidFill>
                  <a:srgbClr val="C61B1B"/>
                </a:solidFill>
                <a:cs typeface="Consolas"/>
              </a:rPr>
              <a:t>moods </a:t>
            </a:r>
            <a:r>
              <a:rPr lang="en-US" dirty="0">
                <a:cs typeface="Consolas"/>
              </a:rPr>
              <a:t>= </a:t>
            </a:r>
            <a:r>
              <a:rPr lang="en-US" dirty="0" err="1">
                <a:solidFill>
                  <a:srgbClr val="C61B1B"/>
                </a:solidFill>
                <a:cs typeface="Consolas"/>
              </a:rPr>
              <a:t>tweets</a:t>
            </a:r>
            <a:r>
              <a:rPr lang="en-US" dirty="0" err="1">
                <a:solidFill>
                  <a:srgbClr val="000000"/>
                </a:solidFill>
                <a:cs typeface="Consolas"/>
              </a:rPr>
              <a:t>.</a:t>
            </a:r>
            <a:r>
              <a:rPr lang="en-US" dirty="0" err="1">
                <a:solidFill>
                  <a:srgbClr val="0D8BE6"/>
                </a:solidFill>
                <a:cs typeface="Consolas"/>
              </a:rPr>
              <a:t>updateStateByKey</a:t>
            </a:r>
            <a:r>
              <a:rPr lang="en-US" dirty="0" smtClean="0">
                <a:solidFill>
                  <a:srgbClr val="000000"/>
                </a:solidFill>
                <a:cs typeface="Consolas"/>
              </a:rPr>
              <a:t>(</a:t>
            </a:r>
            <a:r>
              <a:rPr lang="en-US" dirty="0" err="1" smtClean="0">
                <a:solidFill>
                  <a:srgbClr val="E8950E"/>
                </a:solidFill>
                <a:cs typeface="Consolas"/>
              </a:rPr>
              <a:t>updateMood</a:t>
            </a:r>
            <a:r>
              <a:rPr lang="en-US" dirty="0" smtClean="0">
                <a:solidFill>
                  <a:srgbClr val="E8950E"/>
                </a:solidFill>
                <a:cs typeface="Consolas"/>
              </a:rPr>
              <a:t> _</a:t>
            </a:r>
            <a:r>
              <a:rPr lang="en-US" dirty="0" smtClean="0">
                <a:solidFill>
                  <a:srgbClr val="000000"/>
                </a:solidFill>
                <a:cs typeface="Consolas"/>
              </a:rPr>
              <a:t>)</a:t>
            </a:r>
          </a:p>
          <a:p>
            <a:pPr marL="320040" lvl="1" indent="0">
              <a:lnSpc>
                <a:spcPct val="150000"/>
              </a:lnSpc>
              <a:buNone/>
              <a:defRPr/>
            </a:pPr>
            <a:endParaRPr lang="en-US" sz="2000" dirty="0" smtClean="0">
              <a:solidFill>
                <a:prstClr val="black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" y="1"/>
            <a:ext cx="9905999" cy="801924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b="1" dirty="0" err="1" smtClean="0">
                <a:latin typeface="+mj-lt"/>
              </a:rPr>
              <a:t>Stateful</a:t>
            </a:r>
            <a:r>
              <a:rPr lang="en-US" b="1" dirty="0">
                <a:latin typeface="+mj-lt"/>
              </a:rPr>
              <a:t> </a:t>
            </a:r>
            <a:r>
              <a:rPr lang="en-US" b="1" dirty="0" smtClean="0">
                <a:latin typeface="+mj-lt"/>
              </a:rPr>
              <a:t>Stream Processing</a:t>
            </a:r>
            <a:endParaRPr lang="en-US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502856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grpSp>
        <p:nvGrpSpPr>
          <p:cNvPr id="2" name="Group 108"/>
          <p:cNvGrpSpPr/>
          <p:nvPr/>
        </p:nvGrpSpPr>
        <p:grpSpPr>
          <a:xfrm>
            <a:off x="1772100" y="4718050"/>
            <a:ext cx="6172200" cy="864567"/>
            <a:chOff x="1371600" y="4953000"/>
            <a:chExt cx="6172200" cy="864567"/>
          </a:xfrm>
        </p:grpSpPr>
        <p:grpSp>
          <p:nvGrpSpPr>
            <p:cNvPr id="3" name="Group 7"/>
            <p:cNvGrpSpPr/>
            <p:nvPr/>
          </p:nvGrpSpPr>
          <p:grpSpPr>
            <a:xfrm>
              <a:off x="1371600" y="4953000"/>
              <a:ext cx="6172200" cy="609600"/>
              <a:chOff x="1219200" y="4876800"/>
              <a:chExt cx="6172200" cy="609600"/>
            </a:xfrm>
          </p:grpSpPr>
          <p:sp>
            <p:nvSpPr>
              <p:cNvPr id="112" name="Right Arrow 111"/>
              <p:cNvSpPr/>
              <p:nvPr/>
            </p:nvSpPr>
            <p:spPr bwMode="auto">
              <a:xfrm>
                <a:off x="6934200" y="4876800"/>
                <a:ext cx="457200" cy="609600"/>
              </a:xfrm>
              <a:prstGeom prst="rightArrow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13" name="Rectangle 112"/>
              <p:cNvSpPr/>
              <p:nvPr/>
            </p:nvSpPr>
            <p:spPr bwMode="auto">
              <a:xfrm>
                <a:off x="121920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14" name="Rectangle 113"/>
              <p:cNvSpPr/>
              <p:nvPr/>
            </p:nvSpPr>
            <p:spPr bwMode="auto">
              <a:xfrm>
                <a:off x="150495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15" name="Rectangle 114"/>
              <p:cNvSpPr/>
              <p:nvPr/>
            </p:nvSpPr>
            <p:spPr bwMode="auto">
              <a:xfrm>
                <a:off x="179070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16" name="Rectangle 115"/>
              <p:cNvSpPr/>
              <p:nvPr/>
            </p:nvSpPr>
            <p:spPr bwMode="auto">
              <a:xfrm>
                <a:off x="207645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17" name="Rectangle 116"/>
              <p:cNvSpPr/>
              <p:nvPr/>
            </p:nvSpPr>
            <p:spPr bwMode="auto">
              <a:xfrm>
                <a:off x="236220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18" name="Rectangle 117"/>
              <p:cNvSpPr/>
              <p:nvPr/>
            </p:nvSpPr>
            <p:spPr bwMode="auto">
              <a:xfrm>
                <a:off x="264795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19" name="Rectangle 118"/>
              <p:cNvSpPr/>
              <p:nvPr/>
            </p:nvSpPr>
            <p:spPr bwMode="auto">
              <a:xfrm>
                <a:off x="293370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20" name="Rectangle 119"/>
              <p:cNvSpPr/>
              <p:nvPr/>
            </p:nvSpPr>
            <p:spPr bwMode="auto">
              <a:xfrm>
                <a:off x="321945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21" name="Rectangle 120"/>
              <p:cNvSpPr/>
              <p:nvPr/>
            </p:nvSpPr>
            <p:spPr bwMode="auto">
              <a:xfrm>
                <a:off x="350520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22" name="Rectangle 121"/>
              <p:cNvSpPr/>
              <p:nvPr/>
            </p:nvSpPr>
            <p:spPr bwMode="auto">
              <a:xfrm>
                <a:off x="379095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23" name="Rectangle 122"/>
              <p:cNvSpPr/>
              <p:nvPr/>
            </p:nvSpPr>
            <p:spPr bwMode="auto">
              <a:xfrm>
                <a:off x="407670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24" name="Rectangle 123"/>
              <p:cNvSpPr/>
              <p:nvPr/>
            </p:nvSpPr>
            <p:spPr bwMode="auto">
              <a:xfrm>
                <a:off x="436245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25" name="Rectangle 124"/>
              <p:cNvSpPr/>
              <p:nvPr/>
            </p:nvSpPr>
            <p:spPr bwMode="auto">
              <a:xfrm>
                <a:off x="464820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26" name="Rectangle 125"/>
              <p:cNvSpPr/>
              <p:nvPr/>
            </p:nvSpPr>
            <p:spPr bwMode="auto">
              <a:xfrm>
                <a:off x="493395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27" name="Rectangle 126"/>
              <p:cNvSpPr/>
              <p:nvPr/>
            </p:nvSpPr>
            <p:spPr bwMode="auto">
              <a:xfrm>
                <a:off x="521970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28" name="Rectangle 127"/>
              <p:cNvSpPr/>
              <p:nvPr/>
            </p:nvSpPr>
            <p:spPr bwMode="auto">
              <a:xfrm>
                <a:off x="550545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29" name="Rectangle 128"/>
              <p:cNvSpPr/>
              <p:nvPr/>
            </p:nvSpPr>
            <p:spPr bwMode="auto">
              <a:xfrm>
                <a:off x="579120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30" name="Rectangle 129"/>
              <p:cNvSpPr/>
              <p:nvPr/>
            </p:nvSpPr>
            <p:spPr bwMode="auto">
              <a:xfrm>
                <a:off x="607695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31" name="Rectangle 130"/>
              <p:cNvSpPr/>
              <p:nvPr/>
            </p:nvSpPr>
            <p:spPr bwMode="auto">
              <a:xfrm>
                <a:off x="636270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32" name="Rectangle 131"/>
              <p:cNvSpPr/>
              <p:nvPr/>
            </p:nvSpPr>
            <p:spPr bwMode="auto">
              <a:xfrm>
                <a:off x="664845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</p:grpSp>
        <p:sp>
          <p:nvSpPr>
            <p:cNvPr id="111" name="TextBox 110"/>
            <p:cNvSpPr txBox="1"/>
            <p:nvPr/>
          </p:nvSpPr>
          <p:spPr>
            <a:xfrm>
              <a:off x="1371600" y="5486400"/>
              <a:ext cx="1686590" cy="331167"/>
            </a:xfrm>
            <a:prstGeom prst="rect">
              <a:avLst/>
            </a:prstGeom>
            <a:noFill/>
          </p:spPr>
          <p:txBody>
            <a:bodyPr wrap="none" lIns="38405" tIns="19202" rIns="38405" bIns="19202">
              <a:spAutoFit/>
            </a:bodyPr>
            <a:lstStyle/>
            <a:p>
              <a:pPr>
                <a:defRPr/>
              </a:pPr>
              <a:r>
                <a:rPr lang="en-US" dirty="0" err="1" smtClean="0">
                  <a:solidFill>
                    <a:schemeClr val="accent2"/>
                  </a:solidFill>
                  <a:latin typeface="Calibri"/>
                  <a:ea typeface="ヒラギノ角ゴ ProN W3"/>
                  <a:cs typeface="Calibri"/>
                </a:rPr>
                <a:t>DStream</a:t>
              </a:r>
              <a:r>
                <a:rPr lang="en-US" dirty="0" smtClean="0">
                  <a:solidFill>
                    <a:schemeClr val="accent2"/>
                  </a:solidFill>
                  <a:latin typeface="Calibri"/>
                  <a:ea typeface="ヒラギノ角ゴ ProN W3"/>
                  <a:cs typeface="Calibri"/>
                </a:rPr>
                <a:t> of data</a:t>
              </a:r>
              <a:endParaRPr lang="en-US" dirty="0">
                <a:solidFill>
                  <a:schemeClr val="accent2"/>
                </a:solidFill>
                <a:latin typeface="Calibri"/>
                <a:ea typeface="ヒラギノ角ゴ ProN W3"/>
                <a:cs typeface="Calibri"/>
              </a:endParaRPr>
            </a:p>
          </p:txBody>
        </p:sp>
      </p:grpSp>
      <p:sp>
        <p:nvSpPr>
          <p:cNvPr id="133" name="Title 2"/>
          <p:cNvSpPr>
            <a:spLocks noGrp="1"/>
          </p:cNvSpPr>
          <p:nvPr>
            <p:ph type="title"/>
          </p:nvPr>
        </p:nvSpPr>
        <p:spPr>
          <a:xfrm>
            <a:off x="76200" y="0"/>
            <a:ext cx="9829800" cy="79375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Window-based Transformations</a:t>
            </a:r>
            <a:endParaRPr lang="en-US" sz="2800" b="1" dirty="0">
              <a:latin typeface="+mj-lt"/>
            </a:endParaRPr>
          </a:p>
        </p:txBody>
      </p:sp>
      <p:sp>
        <p:nvSpPr>
          <p:cNvPr id="134" name="Content Placeholder 3"/>
          <p:cNvSpPr>
            <a:spLocks noGrp="1"/>
          </p:cNvSpPr>
          <p:nvPr>
            <p:ph type="body" sz="quarter" idx="4294967295"/>
          </p:nvPr>
        </p:nvSpPr>
        <p:spPr>
          <a:xfrm>
            <a:off x="838200" y="1212850"/>
            <a:ext cx="8553900" cy="107315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  <a:defRPr/>
            </a:pP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val</a:t>
            </a:r>
            <a:r>
              <a:rPr lang="en-US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 tweets = </a:t>
            </a: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ssc.twitterStream</a:t>
            </a:r>
            <a:r>
              <a:rPr lang="en-US" sz="17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()</a:t>
            </a:r>
            <a:endParaRPr lang="en-US" sz="1700" dirty="0">
              <a:solidFill>
                <a:schemeClr val="tx1">
                  <a:lumMod val="50000"/>
                  <a:lumOff val="50000"/>
                </a:schemeClr>
              </a:solidFill>
              <a:latin typeface="Consolas"/>
              <a:cs typeface="Consolas"/>
            </a:endParaRPr>
          </a:p>
          <a:p>
            <a:pPr marL="0" indent="0">
              <a:buNone/>
              <a:defRPr/>
            </a:pP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val</a:t>
            </a:r>
            <a:r>
              <a:rPr lang="en-US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 </a:t>
            </a: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hashTags</a:t>
            </a:r>
            <a:r>
              <a:rPr lang="en-US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 = </a:t>
            </a: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tweets.flatMap</a:t>
            </a:r>
            <a:r>
              <a:rPr lang="en-US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 (status =&gt; </a:t>
            </a: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getTags</a:t>
            </a:r>
            <a:r>
              <a:rPr lang="en-US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(status))</a:t>
            </a:r>
          </a:p>
          <a:p>
            <a:pPr marL="0" indent="0">
              <a:buNone/>
              <a:defRPr/>
            </a:pPr>
            <a:r>
              <a:rPr lang="en-US" sz="1700" dirty="0" err="1">
                <a:latin typeface="Consolas"/>
                <a:cs typeface="Consolas"/>
              </a:rPr>
              <a:t>val</a:t>
            </a:r>
            <a:r>
              <a:rPr lang="en-US" sz="1700" dirty="0">
                <a:latin typeface="Consolas"/>
                <a:cs typeface="Consolas"/>
              </a:rPr>
              <a:t> </a:t>
            </a:r>
            <a:r>
              <a:rPr lang="en-US" sz="1700" dirty="0" err="1">
                <a:solidFill>
                  <a:schemeClr val="accent3"/>
                </a:solidFill>
                <a:latin typeface="Consolas"/>
                <a:cs typeface="Consolas"/>
              </a:rPr>
              <a:t>tagCounts</a:t>
            </a:r>
            <a:r>
              <a:rPr lang="en-US" sz="1700" dirty="0">
                <a:latin typeface="Consolas"/>
                <a:cs typeface="Consolas"/>
              </a:rPr>
              <a:t> = </a:t>
            </a:r>
            <a:r>
              <a:rPr lang="en-US" sz="1700" dirty="0" err="1">
                <a:solidFill>
                  <a:srgbClr val="B50B1B"/>
                </a:solidFill>
                <a:latin typeface="Consolas"/>
                <a:cs typeface="Consolas"/>
              </a:rPr>
              <a:t>hashTags</a:t>
            </a:r>
            <a:r>
              <a:rPr lang="en-US" sz="1700" dirty="0" err="1">
                <a:latin typeface="Consolas"/>
                <a:cs typeface="Consolas"/>
              </a:rPr>
              <a:t>.</a:t>
            </a:r>
            <a:r>
              <a:rPr lang="en-US" sz="1700" dirty="0" err="1">
                <a:solidFill>
                  <a:schemeClr val="accent1"/>
                </a:solidFill>
                <a:latin typeface="Consolas"/>
                <a:cs typeface="Consolas"/>
              </a:rPr>
              <a:t>window</a:t>
            </a:r>
            <a:r>
              <a:rPr lang="en-US" sz="1700" dirty="0">
                <a:latin typeface="Consolas"/>
                <a:cs typeface="Consolas"/>
              </a:rPr>
              <a:t>(Minutes</a:t>
            </a:r>
            <a:r>
              <a:rPr lang="en-US" sz="1700" dirty="0" smtClean="0">
                <a:latin typeface="Consolas"/>
                <a:cs typeface="Consolas"/>
              </a:rPr>
              <a:t>(1)</a:t>
            </a:r>
            <a:r>
              <a:rPr lang="en-US" sz="1700" dirty="0">
                <a:latin typeface="Consolas"/>
                <a:cs typeface="Consolas"/>
              </a:rPr>
              <a:t>, Seconds</a:t>
            </a:r>
            <a:r>
              <a:rPr lang="en-US" sz="1700" dirty="0" smtClean="0">
                <a:latin typeface="Consolas"/>
                <a:cs typeface="Consolas"/>
              </a:rPr>
              <a:t>(</a:t>
            </a:r>
            <a:r>
              <a:rPr lang="en-US" sz="1700" dirty="0">
                <a:latin typeface="Consolas"/>
                <a:cs typeface="Consolas"/>
              </a:rPr>
              <a:t>5</a:t>
            </a:r>
            <a:r>
              <a:rPr lang="en-US" sz="1700" dirty="0" smtClean="0">
                <a:latin typeface="Consolas"/>
                <a:cs typeface="Consolas"/>
              </a:rPr>
              <a:t>)</a:t>
            </a:r>
            <a:r>
              <a:rPr lang="en-US" sz="1700" dirty="0">
                <a:latin typeface="Consolas"/>
                <a:cs typeface="Consolas"/>
              </a:rPr>
              <a:t>).</a:t>
            </a:r>
            <a:r>
              <a:rPr lang="en-US" sz="1700" dirty="0" err="1">
                <a:solidFill>
                  <a:srgbClr val="1D86CD"/>
                </a:solidFill>
                <a:latin typeface="Consolas"/>
                <a:cs typeface="Consolas"/>
              </a:rPr>
              <a:t>countByValue</a:t>
            </a:r>
            <a:r>
              <a:rPr lang="en-US" sz="1700" dirty="0">
                <a:latin typeface="Consolas"/>
                <a:cs typeface="Consolas"/>
              </a:rPr>
              <a:t>()</a:t>
            </a:r>
          </a:p>
          <a:p>
            <a:pPr>
              <a:buNone/>
              <a:defRPr/>
            </a:pPr>
            <a:endParaRPr lang="en-US" dirty="0"/>
          </a:p>
        </p:txBody>
      </p:sp>
      <p:sp>
        <p:nvSpPr>
          <p:cNvPr id="135" name="Rounded Rectangular Callout 134"/>
          <p:cNvSpPr/>
          <p:nvPr/>
        </p:nvSpPr>
        <p:spPr>
          <a:xfrm>
            <a:off x="2433330" y="2683256"/>
            <a:ext cx="1857375" cy="800100"/>
          </a:xfrm>
          <a:prstGeom prst="wedgeRoundRectCallout">
            <a:avLst>
              <a:gd name="adj1" fmla="val 30265"/>
              <a:gd name="adj2" fmla="val -106914"/>
              <a:gd name="adj3" fmla="val 16667"/>
            </a:avLst>
          </a:prstGeom>
          <a:ln w="28575" cmpd="sng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sliding window operation</a:t>
            </a:r>
          </a:p>
        </p:txBody>
      </p:sp>
      <p:sp>
        <p:nvSpPr>
          <p:cNvPr id="136" name="Rounded Rectangular Callout 135"/>
          <p:cNvSpPr/>
          <p:nvPr/>
        </p:nvSpPr>
        <p:spPr>
          <a:xfrm>
            <a:off x="4465980" y="2683256"/>
            <a:ext cx="1514475" cy="800100"/>
          </a:xfrm>
          <a:prstGeom prst="wedgeRoundRectCallout">
            <a:avLst>
              <a:gd name="adj1" fmla="val -18492"/>
              <a:gd name="adj2" fmla="val -107376"/>
              <a:gd name="adj3" fmla="val 16667"/>
            </a:avLst>
          </a:prstGeom>
          <a:ln w="28575" cmpd="sng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window length</a:t>
            </a:r>
          </a:p>
        </p:txBody>
      </p:sp>
      <p:sp>
        <p:nvSpPr>
          <p:cNvPr id="137" name="Rounded Rectangular Callout 136"/>
          <p:cNvSpPr/>
          <p:nvPr/>
        </p:nvSpPr>
        <p:spPr>
          <a:xfrm>
            <a:off x="6142635" y="2683256"/>
            <a:ext cx="1514475" cy="800100"/>
          </a:xfrm>
          <a:prstGeom prst="wedgeRoundRectCallout">
            <a:avLst>
              <a:gd name="adj1" fmla="val -21351"/>
              <a:gd name="adj2" fmla="val -105755"/>
              <a:gd name="adj3" fmla="val 16667"/>
            </a:avLst>
          </a:prstGeom>
          <a:ln w="28575" cmpd="sng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sliding interval</a:t>
            </a:r>
          </a:p>
        </p:txBody>
      </p:sp>
      <p:sp>
        <p:nvSpPr>
          <p:cNvPr id="138" name="Rounded Rectangle 137"/>
          <p:cNvSpPr/>
          <p:nvPr/>
        </p:nvSpPr>
        <p:spPr>
          <a:xfrm>
            <a:off x="4591500" y="4794250"/>
            <a:ext cx="2286000" cy="457200"/>
          </a:xfrm>
          <a:prstGeom prst="roundRect">
            <a:avLst/>
          </a:prstGeom>
          <a:noFill/>
          <a:ln w="38100" cmpd="sng">
            <a:solidFill>
              <a:schemeClr val="accent3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Arial"/>
              <a:ea typeface="ヒラギノ角ゴ ProN W3"/>
              <a:cs typeface="ヒラギノ角ゴ ProN W3"/>
            </a:endParaRPr>
          </a:p>
        </p:txBody>
      </p:sp>
      <p:grpSp>
        <p:nvGrpSpPr>
          <p:cNvPr id="4" name="Group 138"/>
          <p:cNvGrpSpPr/>
          <p:nvPr/>
        </p:nvGrpSpPr>
        <p:grpSpPr>
          <a:xfrm>
            <a:off x="5124900" y="4032250"/>
            <a:ext cx="2286000" cy="685800"/>
            <a:chOff x="4724400" y="4267200"/>
            <a:chExt cx="2286000" cy="685800"/>
          </a:xfrm>
        </p:grpSpPr>
        <p:sp>
          <p:nvSpPr>
            <p:cNvPr id="140" name="TextBox 139"/>
            <p:cNvSpPr txBox="1"/>
            <p:nvPr/>
          </p:nvSpPr>
          <p:spPr>
            <a:xfrm>
              <a:off x="5181600" y="4267200"/>
              <a:ext cx="1473375" cy="315778"/>
            </a:xfrm>
            <a:prstGeom prst="rect">
              <a:avLst/>
            </a:prstGeom>
            <a:noFill/>
          </p:spPr>
          <p:txBody>
            <a:bodyPr wrap="none" lIns="38405" tIns="19202" rIns="38405" bIns="19202">
              <a:spAutoFit/>
            </a:bodyPr>
            <a:lstStyle/>
            <a:p>
              <a:pPr>
                <a:defRPr/>
              </a:pPr>
              <a:r>
                <a:rPr lang="en-US" dirty="0" smtClean="0">
                  <a:solidFill>
                    <a:srgbClr val="B50B1B"/>
                  </a:solidFill>
                  <a:latin typeface="Calibri"/>
                  <a:ea typeface="ヒラギノ角ゴ ProN W3"/>
                  <a:cs typeface="Calibri"/>
                </a:rPr>
                <a:t>window length</a:t>
              </a:r>
              <a:endParaRPr lang="en-US" dirty="0">
                <a:solidFill>
                  <a:srgbClr val="B50B1B"/>
                </a:solidFill>
                <a:latin typeface="Calibri"/>
                <a:ea typeface="ヒラギノ角ゴ ProN W3"/>
                <a:cs typeface="Calibri"/>
              </a:endParaRPr>
            </a:p>
          </p:txBody>
        </p:sp>
        <p:sp>
          <p:nvSpPr>
            <p:cNvPr id="141" name="Right Brace 140"/>
            <p:cNvSpPr/>
            <p:nvPr/>
          </p:nvSpPr>
          <p:spPr bwMode="auto">
            <a:xfrm rot="16200000">
              <a:off x="5715000" y="3657600"/>
              <a:ext cx="304800" cy="2286000"/>
            </a:xfrm>
            <a:prstGeom prst="rightBrace">
              <a:avLst>
                <a:gd name="adj1" fmla="val 36825"/>
                <a:gd name="adj2" fmla="val 49540"/>
              </a:avLst>
            </a:prstGeom>
            <a:noFill/>
            <a:ln w="254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</p:grpSp>
      <p:grpSp>
        <p:nvGrpSpPr>
          <p:cNvPr id="5" name="Group 141"/>
          <p:cNvGrpSpPr/>
          <p:nvPr/>
        </p:nvGrpSpPr>
        <p:grpSpPr>
          <a:xfrm>
            <a:off x="4210500" y="5327650"/>
            <a:ext cx="1444859" cy="620578"/>
            <a:chOff x="4267200" y="4191000"/>
            <a:chExt cx="1444859" cy="620578"/>
          </a:xfrm>
        </p:grpSpPr>
        <p:sp>
          <p:nvSpPr>
            <p:cNvPr id="143" name="TextBox 142"/>
            <p:cNvSpPr txBox="1"/>
            <p:nvPr/>
          </p:nvSpPr>
          <p:spPr>
            <a:xfrm>
              <a:off x="4267200" y="4495800"/>
              <a:ext cx="1444859" cy="315778"/>
            </a:xfrm>
            <a:prstGeom prst="rect">
              <a:avLst/>
            </a:prstGeom>
            <a:noFill/>
          </p:spPr>
          <p:txBody>
            <a:bodyPr wrap="none" lIns="38405" tIns="19202" rIns="38405" bIns="19202">
              <a:spAutoFit/>
            </a:bodyPr>
            <a:lstStyle/>
            <a:p>
              <a:pPr>
                <a:defRPr/>
              </a:pPr>
              <a:r>
                <a:rPr lang="en-US" dirty="0" smtClean="0">
                  <a:solidFill>
                    <a:srgbClr val="B50B1B"/>
                  </a:solidFill>
                  <a:latin typeface="Calibri"/>
                  <a:ea typeface="ヒラギノ角ゴ ProN W3"/>
                  <a:cs typeface="Calibri"/>
                </a:rPr>
                <a:t>sliding interval</a:t>
              </a:r>
              <a:endParaRPr lang="en-US" dirty="0">
                <a:solidFill>
                  <a:srgbClr val="B50B1B"/>
                </a:solidFill>
                <a:latin typeface="Calibri"/>
                <a:ea typeface="ヒラギノ角ゴ ProN W3"/>
                <a:cs typeface="Calibri"/>
              </a:endParaRPr>
            </a:p>
          </p:txBody>
        </p:sp>
        <p:sp>
          <p:nvSpPr>
            <p:cNvPr id="144" name="Right Brace 143"/>
            <p:cNvSpPr/>
            <p:nvPr/>
          </p:nvSpPr>
          <p:spPr bwMode="auto">
            <a:xfrm rot="5400000">
              <a:off x="4800600" y="4038600"/>
              <a:ext cx="304800" cy="609600"/>
            </a:xfrm>
            <a:prstGeom prst="rightBrace">
              <a:avLst>
                <a:gd name="adj1" fmla="val 36825"/>
                <a:gd name="adj2" fmla="val 49540"/>
              </a:avLst>
            </a:prstGeom>
            <a:noFill/>
            <a:ln w="254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</p:grpSp>
      <p:sp>
        <p:nvSpPr>
          <p:cNvPr id="145" name="Rounded Rectangle 144"/>
          <p:cNvSpPr/>
          <p:nvPr/>
        </p:nvSpPr>
        <p:spPr>
          <a:xfrm>
            <a:off x="2033481" y="4794250"/>
            <a:ext cx="2286000" cy="457200"/>
          </a:xfrm>
          <a:prstGeom prst="roundRect">
            <a:avLst/>
          </a:prstGeom>
          <a:noFill/>
          <a:ln w="3810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Arial"/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7 7.61398E-7 L 0.34178 7.61398E-7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09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5" grpId="0" animBg="1"/>
      <p:bldP spid="136" grpId="0" animBg="1"/>
      <p:bldP spid="137" grpId="0" animBg="1"/>
      <p:bldP spid="138" grpId="0" animBg="1"/>
      <p:bldP spid="145" grpId="0" animBg="1"/>
      <p:bldP spid="145" grpId="1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0" y="2209800"/>
            <a:ext cx="9905999" cy="1676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ctr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Q &amp; A</a:t>
            </a: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0" y="1828800"/>
            <a:ext cx="9905999" cy="1676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ctr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 smtClean="0">
                <a:latin typeface="Arial Narrow" pitchFamily="34" charset="0"/>
                <a:ea typeface="+mj-ea"/>
                <a:cs typeface="+mj-cs"/>
              </a:rPr>
              <a:t>Thank You</a:t>
            </a:r>
            <a:endParaRPr kumimoji="0" lang="en-US" sz="4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6858000" y="5029200"/>
          <a:ext cx="2743200" cy="11125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607736"/>
                <a:gridCol w="1135464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Review Dat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12-May-2016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Version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1.0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Next Review Du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12-May-201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34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09600" y="1219200"/>
            <a:ext cx="929640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400" lvl="1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dirty="0" smtClean="0"/>
              <a:t>Framework for large scale stream processing </a:t>
            </a:r>
          </a:p>
          <a:p>
            <a:pPr marL="1371600" lvl="2" indent="-4572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Scales to 100s of nodes</a:t>
            </a:r>
          </a:p>
          <a:p>
            <a:pPr marL="1371600" lvl="2" indent="-4572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Can achieve second scale latencies</a:t>
            </a:r>
          </a:p>
          <a:p>
            <a:pPr marL="1371600" lvl="2" indent="-4572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Integrates with Spark</a:t>
            </a:r>
            <a:r>
              <a:rPr lang="en-US" altLang="en-US" sz="2000" dirty="0" smtClean="0"/>
              <a:t>’</a:t>
            </a:r>
            <a:r>
              <a:rPr lang="en-US" sz="2000" dirty="0" smtClean="0"/>
              <a:t>s batch and interactive processing</a:t>
            </a:r>
          </a:p>
          <a:p>
            <a:pPr marL="1371600" lvl="2" indent="-4572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Provides a simple batch-like API for implementing complex algorithm</a:t>
            </a:r>
          </a:p>
          <a:p>
            <a:pPr marL="1371600" lvl="2" indent="-4572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Can absorb live data streams from Kafka, Flume, </a:t>
            </a:r>
            <a:r>
              <a:rPr lang="en-US" sz="2000" dirty="0" err="1" smtClean="0"/>
              <a:t>ZeroMQ</a:t>
            </a:r>
            <a:r>
              <a:rPr lang="en-US" sz="2000" dirty="0" smtClean="0"/>
              <a:t>, etc</a:t>
            </a:r>
            <a:r>
              <a:rPr lang="en-US" sz="2000" dirty="0" smtClean="0"/>
              <a:t>.</a:t>
            </a:r>
          </a:p>
          <a:p>
            <a:pPr marL="914400" lvl="2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altLang="en-US" sz="2000" dirty="0" smtClean="0">
                <a:solidFill>
                  <a:srgbClr val="0C0F20"/>
                </a:solidFill>
                <a:cs typeface="Calibri"/>
                <a:sym typeface="Arial" charset="0"/>
              </a:rPr>
              <a:t>Spark streaming is an extension of the core Spark API that enables scalable, high-throughput stream processing of live data streams. 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152400"/>
            <a:ext cx="9906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/>
            <a:r>
              <a:rPr lang="en-US" sz="2800" b="1" dirty="0" smtClean="0">
                <a:latin typeface="+mj-lt"/>
                <a:sym typeface="Arial" charset="0"/>
              </a:rPr>
              <a:t>What is Spark Streaming?</a:t>
            </a:r>
            <a:endParaRPr lang="en-US" sz="2800" b="1" dirty="0"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85800" y="1447800"/>
            <a:ext cx="92202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7575" lvl="0" indent="-460375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altLang="en-US" sz="2000" dirty="0" smtClean="0">
                <a:solidFill>
                  <a:srgbClr val="0C0F20"/>
                </a:solidFill>
                <a:cs typeface="Calibri"/>
                <a:sym typeface="Arial" charset="0"/>
              </a:rPr>
              <a:t>Data </a:t>
            </a:r>
            <a:r>
              <a:rPr lang="en-US" altLang="en-US" sz="2000" dirty="0" smtClean="0">
                <a:solidFill>
                  <a:srgbClr val="0C0F20"/>
                </a:solidFill>
                <a:cs typeface="Calibri"/>
                <a:sym typeface="Arial" charset="0"/>
              </a:rPr>
              <a:t>can be ingested from many sources like Kafka, Flume, Twitter, </a:t>
            </a:r>
            <a:r>
              <a:rPr lang="en-US" altLang="en-US" sz="2000" dirty="0" err="1" smtClean="0">
                <a:solidFill>
                  <a:srgbClr val="0C0F20"/>
                </a:solidFill>
                <a:cs typeface="Calibri"/>
                <a:sym typeface="Arial" charset="0"/>
              </a:rPr>
              <a:t>ZeroMQ</a:t>
            </a:r>
            <a:r>
              <a:rPr lang="en-US" altLang="en-US" sz="2000" dirty="0" smtClean="0">
                <a:solidFill>
                  <a:srgbClr val="0C0F20"/>
                </a:solidFill>
                <a:cs typeface="Calibri"/>
                <a:sym typeface="Arial" charset="0"/>
              </a:rPr>
              <a:t>, Kinesis, or TCP sockets</a:t>
            </a:r>
            <a:endParaRPr lang="en-US" altLang="en-US" sz="2000" dirty="0" smtClean="0"/>
          </a:p>
        </p:txBody>
      </p:sp>
      <p:pic>
        <p:nvPicPr>
          <p:cNvPr id="5" name="Picture 4" descr="Spark Stream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15415" y="2590800"/>
            <a:ext cx="7728585" cy="2888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8610600" y="6172200"/>
            <a:ext cx="83708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Source: </a:t>
            </a:r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Databricks</a:t>
            </a:r>
            <a:endParaRPr lang="en-US" sz="6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152400"/>
            <a:ext cx="9906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/>
            <a:r>
              <a:rPr lang="en-US" sz="2800" b="1" dirty="0" smtClean="0">
                <a:latin typeface="+mj-lt"/>
                <a:sym typeface="Arial" charset="0"/>
              </a:rPr>
              <a:t>What is Spark Streaming?</a:t>
            </a:r>
            <a:endParaRPr lang="en-US" sz="2800" b="1" dirty="0"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1898340"/>
            <a:ext cx="9906000" cy="463860"/>
          </a:xfrm>
          <a:prstGeom prst="rect">
            <a:avLst/>
          </a:prstGeom>
          <a:gradFill rotWithShape="1">
            <a:gsLst>
              <a:gs pos="0">
                <a:srgbClr val="B5E1DF"/>
              </a:gs>
              <a:gs pos="100000">
                <a:srgbClr val="00A0D6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defTabSz="779252">
              <a:defRPr/>
            </a:pPr>
            <a:endParaRPr lang="fr-FR" sz="15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152400"/>
            <a:ext cx="9905999" cy="533400"/>
          </a:xfrm>
        </p:spPr>
        <p:txBody>
          <a:bodyPr anchor="b"/>
          <a:lstStyle/>
          <a:p>
            <a:pPr marL="457200" lvl="0" indent="-169863" defTabSz="117475">
              <a:lnSpc>
                <a:spcPct val="150000"/>
              </a:lnSpc>
              <a:defRPr/>
            </a:pPr>
            <a:r>
              <a:rPr lang="en-US" b="1" dirty="0" smtClean="0">
                <a:latin typeface="+mj-lt"/>
              </a:rPr>
              <a:t>Spark streaming : How it works ?</a:t>
            </a:r>
            <a:endParaRPr lang="en-US" b="1" dirty="0" smtClean="0">
              <a:latin typeface="+mj-lt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312864"/>
            <a:ext cx="9448800" cy="3944936"/>
          </a:xfrm>
        </p:spPr>
        <p:txBody>
          <a:bodyPr/>
          <a:lstStyle/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What is Spark streaming?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b="1" dirty="0" smtClean="0"/>
              <a:t>Spark streaming : How it works ?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Spark </a:t>
            </a:r>
            <a:r>
              <a:rPr lang="en-US" dirty="0" err="1" smtClean="0"/>
              <a:t>DStreams</a:t>
            </a:r>
            <a:endParaRPr lang="en-US" dirty="0" smtClean="0"/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A Twitter example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Fault-tolerance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err="1" smtClean="0"/>
              <a:t>Stateful</a:t>
            </a:r>
            <a:r>
              <a:rPr lang="en-US" dirty="0" smtClean="0"/>
              <a:t> Stream Processing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Q &amp; A</a:t>
            </a:r>
          </a:p>
          <a:p>
            <a:pPr marL="909638" indent="-452438">
              <a:lnSpc>
                <a:spcPct val="150000"/>
              </a:lnSpc>
            </a:pPr>
            <a:endParaRPr lang="en-US" dirty="0" smtClean="0"/>
          </a:p>
          <a:p>
            <a:pPr marL="909638" indent="-452438">
              <a:lnSpc>
                <a:spcPct val="150000"/>
              </a:lnSpc>
            </a:pPr>
            <a:endParaRPr lang="en-US" b="1" dirty="0" smtClean="0"/>
          </a:p>
        </p:txBody>
      </p:sp>
    </p:spTree>
    <p:extLst>
      <p:ext uri="{BB962C8B-B14F-4D97-AF65-F5344CB8AC3E}">
        <p14:creationId xmlns="" xmlns:p14="http://schemas.microsoft.com/office/powerpoint/2010/main" val="7597939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62000" y="1371600"/>
            <a:ext cx="9144000" cy="1881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1225" lvl="0" indent="-454025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dirty="0" smtClean="0"/>
              <a:t>Spark Streaming receives live input data streams and divides the data into </a:t>
            </a:r>
            <a:r>
              <a:rPr lang="en-US" sz="2000" dirty="0" smtClean="0"/>
              <a:t>batches.</a:t>
            </a:r>
          </a:p>
          <a:p>
            <a:pPr marL="911225" lvl="0" indent="-454025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dirty="0" smtClean="0"/>
              <a:t>Each </a:t>
            </a:r>
            <a:r>
              <a:rPr lang="en-US" sz="2000" dirty="0" smtClean="0"/>
              <a:t>batch is processed by the Spark engine to generate the final stream of results.</a:t>
            </a:r>
            <a:endParaRPr lang="en-US" altLang="en-US" sz="2000" dirty="0" smtClean="0"/>
          </a:p>
        </p:txBody>
      </p:sp>
      <p:pic>
        <p:nvPicPr>
          <p:cNvPr id="5" name="Picture 2" descr="Spark Stream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10640" y="3421462"/>
            <a:ext cx="8138160" cy="2674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8916511" y="6139934"/>
            <a:ext cx="83708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Source: </a:t>
            </a:r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Databricks</a:t>
            </a:r>
            <a:endParaRPr lang="en-US" sz="6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304800" y="0"/>
            <a:ext cx="9531350" cy="79375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Spark Streaming : How it Works ?</a:t>
            </a:r>
            <a:endParaRPr lang="en-US" b="1" dirty="0"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85800" y="1252478"/>
            <a:ext cx="9220200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b="1" dirty="0" smtClean="0">
                <a:sym typeface="Arial" charset="0"/>
              </a:rPr>
              <a:t>Motivation</a:t>
            </a:r>
          </a:p>
          <a:p>
            <a:pPr marL="914400" lvl="1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en-US" sz="2000" dirty="0" smtClean="0">
                <a:sym typeface="Arial" charset="0"/>
              </a:rPr>
              <a:t>Many important applications must process large streams of live data and provide results in </a:t>
            </a:r>
            <a:r>
              <a:rPr lang="en-US" sz="2000" dirty="0" smtClean="0">
                <a:sym typeface="Arial" charset="0"/>
              </a:rPr>
              <a:t>near-real-time</a:t>
            </a:r>
          </a:p>
          <a:p>
            <a:pPr marL="1371600" lvl="1" indent="-457200" defTabSz="1031875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en-US" sz="2000" dirty="0" smtClean="0">
                <a:sym typeface="Arial" charset="0"/>
              </a:rPr>
              <a:t>Social </a:t>
            </a:r>
            <a:r>
              <a:rPr lang="en-US" sz="2000" dirty="0" smtClean="0">
                <a:sym typeface="Arial" charset="0"/>
              </a:rPr>
              <a:t>network </a:t>
            </a:r>
            <a:r>
              <a:rPr lang="en-US" sz="2000" dirty="0" smtClean="0">
                <a:sym typeface="Arial" charset="0"/>
              </a:rPr>
              <a:t>trends</a:t>
            </a:r>
          </a:p>
          <a:p>
            <a:pPr marL="1371600" lvl="1" indent="-457200" defTabSz="1031875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en-US" sz="2000" dirty="0" smtClean="0">
                <a:sym typeface="Arial" charset="0"/>
              </a:rPr>
              <a:t>Website statistics</a:t>
            </a:r>
          </a:p>
          <a:p>
            <a:pPr marL="1371600" lvl="1" indent="-457200" defTabSz="1031875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en-US" sz="2000" dirty="0" err="1" smtClean="0">
                <a:sym typeface="Arial" charset="0"/>
              </a:rPr>
              <a:t>Intrustion</a:t>
            </a:r>
            <a:r>
              <a:rPr lang="en-US" sz="2000" dirty="0" smtClean="0">
                <a:sym typeface="Arial" charset="0"/>
              </a:rPr>
              <a:t> </a:t>
            </a:r>
            <a:r>
              <a:rPr lang="en-US" sz="2000" dirty="0" smtClean="0">
                <a:sym typeface="Arial" charset="0"/>
              </a:rPr>
              <a:t>detection </a:t>
            </a:r>
            <a:r>
              <a:rPr lang="en-US" sz="2000" dirty="0" smtClean="0">
                <a:sym typeface="Arial" charset="0"/>
              </a:rPr>
              <a:t>systems</a:t>
            </a:r>
          </a:p>
          <a:p>
            <a:pPr marL="914400" lvl="1" indent="-457200" defTabSz="1031875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en-US" sz="2000" dirty="0" smtClean="0">
                <a:sym typeface="Arial" charset="0"/>
              </a:rPr>
              <a:t>Require </a:t>
            </a:r>
            <a:r>
              <a:rPr lang="en-US" sz="2000" dirty="0" smtClean="0">
                <a:sym typeface="Arial" charset="0"/>
              </a:rPr>
              <a:t>large clusters to handle </a:t>
            </a:r>
            <a:r>
              <a:rPr lang="en-US" sz="2000" dirty="0" smtClean="0">
                <a:sym typeface="Arial" charset="0"/>
              </a:rPr>
              <a:t>workloads</a:t>
            </a:r>
          </a:p>
          <a:p>
            <a:pPr marL="914400" lvl="1" indent="-457200" defTabSz="1031875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en-US" sz="2000" dirty="0" smtClean="0">
                <a:sym typeface="Arial" charset="0"/>
              </a:rPr>
              <a:t>Require </a:t>
            </a:r>
            <a:r>
              <a:rPr lang="en-US" sz="2000" dirty="0" smtClean="0">
                <a:sym typeface="Arial" charset="0"/>
              </a:rPr>
              <a:t>latencies of few seconds</a:t>
            </a:r>
          </a:p>
          <a:p>
            <a:pPr marL="1371600" lvl="1" indent="-457200" defTabSz="1031875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  <a:defRPr/>
            </a:pPr>
            <a:endParaRPr lang="en-US" sz="2000" dirty="0" smtClean="0">
              <a:sym typeface="Arial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rcRect b="24597"/>
          <a:stretch>
            <a:fillRect/>
          </a:stretch>
        </p:blipFill>
        <p:spPr bwMode="auto">
          <a:xfrm flipV="1">
            <a:off x="6441790" y="2438400"/>
            <a:ext cx="1787810" cy="1644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39700" dir="2700000" algn="tl" rotWithShape="0">
              <a:srgbClr val="333333">
                <a:alpha val="64999"/>
              </a:srgb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 flipV="1">
            <a:off x="6781800" y="2590800"/>
            <a:ext cx="2360951" cy="16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39700" dir="2700000" algn="tl" rotWithShape="0">
              <a:srgbClr val="333333">
                <a:alpha val="64999"/>
              </a:srgb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 flipV="1">
            <a:off x="7080294" y="2743200"/>
            <a:ext cx="2520906" cy="205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39700" dir="2700000" algn="tl" rotWithShape="0">
              <a:srgbClr val="333333">
                <a:alpha val="64999"/>
              </a:srgbClr>
            </a:outerShdw>
          </a:effectLst>
        </p:spPr>
      </p:pic>
      <p:sp>
        <p:nvSpPr>
          <p:cNvPr id="10" name="TextBox 9"/>
          <p:cNvSpPr txBox="1"/>
          <p:nvPr/>
        </p:nvSpPr>
        <p:spPr>
          <a:xfrm>
            <a:off x="8610600" y="6172200"/>
            <a:ext cx="83708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Source: </a:t>
            </a:r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Databricks</a:t>
            </a:r>
            <a:endParaRPr lang="en-US" sz="6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374650" y="0"/>
            <a:ext cx="9531350" cy="79375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Spark Streaming : How it Works ?</a:t>
            </a:r>
            <a:endParaRPr lang="en-US" b="1" dirty="0"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2431740"/>
            <a:ext cx="9906000" cy="463860"/>
          </a:xfrm>
          <a:prstGeom prst="rect">
            <a:avLst/>
          </a:prstGeom>
          <a:gradFill rotWithShape="1">
            <a:gsLst>
              <a:gs pos="0">
                <a:srgbClr val="B5E1DF"/>
              </a:gs>
              <a:gs pos="100000">
                <a:srgbClr val="00A0D6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defTabSz="779252">
              <a:defRPr/>
            </a:pPr>
            <a:endParaRPr lang="fr-FR" sz="15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152400"/>
            <a:ext cx="9905999" cy="533400"/>
          </a:xfrm>
        </p:spPr>
        <p:txBody>
          <a:bodyPr anchor="b"/>
          <a:lstStyle/>
          <a:p>
            <a:pPr marL="457200" lvl="0" indent="-169863" defTabSz="117475">
              <a:lnSpc>
                <a:spcPct val="150000"/>
              </a:lnSpc>
              <a:defRPr/>
            </a:pPr>
            <a:r>
              <a:rPr lang="en-US" b="1" dirty="0" smtClean="0">
                <a:latin typeface="+mj-lt"/>
              </a:rPr>
              <a:t>Spark </a:t>
            </a:r>
            <a:r>
              <a:rPr lang="en-US" b="1" dirty="0" err="1" smtClean="0">
                <a:latin typeface="+mj-lt"/>
              </a:rPr>
              <a:t>DStreams</a:t>
            </a:r>
            <a:endParaRPr lang="en-US" b="1" dirty="0" smtClean="0">
              <a:latin typeface="+mj-lt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312864"/>
            <a:ext cx="9448800" cy="5011736"/>
          </a:xfrm>
        </p:spPr>
        <p:txBody>
          <a:bodyPr/>
          <a:lstStyle/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What is Spark streaming?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Spark streaming : How it works ?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b="1" dirty="0" smtClean="0"/>
              <a:t>Spark </a:t>
            </a:r>
            <a:r>
              <a:rPr lang="en-US" b="1" dirty="0" err="1" smtClean="0"/>
              <a:t>DStreams</a:t>
            </a:r>
            <a:endParaRPr lang="en-US" b="1" dirty="0" smtClean="0"/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A Twitter example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Fault-tolerance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err="1" smtClean="0"/>
              <a:t>Stateful</a:t>
            </a:r>
            <a:r>
              <a:rPr lang="en-US" dirty="0" smtClean="0"/>
              <a:t> Stream Processing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Q &amp; A</a:t>
            </a:r>
          </a:p>
          <a:p>
            <a:pPr marL="909638" indent="-452438">
              <a:lnSpc>
                <a:spcPct val="150000"/>
              </a:lnSpc>
            </a:pPr>
            <a:endParaRPr lang="en-US" dirty="0" smtClean="0"/>
          </a:p>
          <a:p>
            <a:pPr marL="909638" indent="-452438">
              <a:lnSpc>
                <a:spcPct val="150000"/>
              </a:lnSpc>
            </a:pPr>
            <a:endParaRPr lang="en-US" b="1" dirty="0" smtClean="0"/>
          </a:p>
        </p:txBody>
      </p:sp>
    </p:spTree>
    <p:extLst>
      <p:ext uri="{BB962C8B-B14F-4D97-AF65-F5344CB8AC3E}">
        <p14:creationId xmlns="" xmlns:p14="http://schemas.microsoft.com/office/powerpoint/2010/main" val="7597939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76200"/>
            <a:ext cx="9906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/>
            <a:r>
              <a:rPr lang="en-US" sz="2800" b="1" dirty="0" smtClean="0"/>
              <a:t>Spark </a:t>
            </a:r>
            <a:r>
              <a:rPr lang="en-US" sz="2800" b="1" dirty="0" err="1" smtClean="0"/>
              <a:t>DStream</a:t>
            </a:r>
            <a:endParaRPr lang="en-US" sz="2800" b="1" dirty="0"/>
          </a:p>
        </p:txBody>
      </p:sp>
      <p:sp>
        <p:nvSpPr>
          <p:cNvPr id="5" name="Rectangle 4"/>
          <p:cNvSpPr/>
          <p:nvPr/>
        </p:nvSpPr>
        <p:spPr>
          <a:xfrm>
            <a:off x="685800" y="1295400"/>
            <a:ext cx="92202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7575" lvl="1" indent="-460375"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en-US" sz="2000" dirty="0" smtClean="0"/>
              <a:t>Run a streaming computation as a series of very small, deterministic batch jobs</a:t>
            </a:r>
            <a:endParaRPr lang="en-US" sz="2000" dirty="0"/>
          </a:p>
        </p:txBody>
      </p:sp>
      <p:pic>
        <p:nvPicPr>
          <p:cNvPr id="7" name="Picture 2" descr="Spark Streaming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43000" y="2209800"/>
            <a:ext cx="8024216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Spark Stream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15695" y="3420336"/>
            <a:ext cx="7952105" cy="2828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IG-01_Big Data Overview_Training_1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i="0" u="none" strike="noStrike" cap="none" normalizeH="0" baseline="0" dirty="0" smtClean="0">
            <a:ln>
              <a:noFill/>
            </a:ln>
            <a:solidFill>
              <a:schemeClr val="tx2">
                <a:lumMod val="50000"/>
              </a:schemeClr>
            </a:solidFill>
            <a:effectLst/>
            <a:latin typeface="+mn-lt"/>
            <a:cs typeface="Arial" charset="0"/>
          </a:defRPr>
        </a:defPPr>
      </a:lstStyle>
    </a:spDef>
    <a:lnDef>
      <a:spPr bwMode="auto">
        <a:solidFill>
          <a:schemeClr val="accent6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I&amp;D_Learning and Development 2015_Closing Slides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I&amp;D_Learning and Development 2015_Section break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-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IG-01_Big Data Overview_Training_1</Template>
  <TotalTime>3069</TotalTime>
  <Words>1111</Words>
  <Application>Microsoft Office PowerPoint</Application>
  <PresentationFormat>A4 Paper (210x297 mm)</PresentationFormat>
  <Paragraphs>260</Paragraphs>
  <Slides>28</Slides>
  <Notes>14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2" baseType="lpstr">
      <vt:lpstr>BIG-01_Big Data Overview_Training_1</vt:lpstr>
      <vt:lpstr>I&amp;D_Learning and Development 2015_Closing Slides</vt:lpstr>
      <vt:lpstr>I&amp;D_Learning and Development 2015_Section break</vt:lpstr>
      <vt:lpstr>think-cell Slide</vt:lpstr>
      <vt:lpstr>Learning &amp; Development  Enabling development, Impacting growth…</vt:lpstr>
      <vt:lpstr>What is Spark streaming?</vt:lpstr>
      <vt:lpstr>Slide 3</vt:lpstr>
      <vt:lpstr>Slide 4</vt:lpstr>
      <vt:lpstr>Spark streaming : How it works ?</vt:lpstr>
      <vt:lpstr>Spark Streaming : How it Works ?</vt:lpstr>
      <vt:lpstr>Spark Streaming : How it Works ?</vt:lpstr>
      <vt:lpstr>Spark DStreams</vt:lpstr>
      <vt:lpstr>Slide 9</vt:lpstr>
      <vt:lpstr>Spark DStreams</vt:lpstr>
      <vt:lpstr>Spark DStreams</vt:lpstr>
      <vt:lpstr>Slide 12</vt:lpstr>
      <vt:lpstr>A Twitter Example</vt:lpstr>
      <vt:lpstr>Example – Get hashtags from Twitter </vt:lpstr>
      <vt:lpstr>Example – Get hashtags from Twitter </vt:lpstr>
      <vt:lpstr>Example – Get hashtags from Twitter </vt:lpstr>
      <vt:lpstr>Example – Get hashtags from Twitter </vt:lpstr>
      <vt:lpstr>Example – Scala</vt:lpstr>
      <vt:lpstr>Fault-tolerance</vt:lpstr>
      <vt:lpstr>Fault-tolerance: Worker</vt:lpstr>
      <vt:lpstr>Fault-tolerance: Master</vt:lpstr>
      <vt:lpstr>Stateful Stream Processing</vt:lpstr>
      <vt:lpstr>Stateful Stream Processing</vt:lpstr>
      <vt:lpstr>Stateful Stream Processing</vt:lpstr>
      <vt:lpstr>Window-based Transformations</vt:lpstr>
      <vt:lpstr>Slide 26</vt:lpstr>
      <vt:lpstr>Slide 27</vt:lpstr>
      <vt:lpstr>Slide 28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rning &amp; Development  Enabling development, Impacting growth…</dc:title>
  <dc:creator>svaikunt</dc:creator>
  <cp:lastModifiedBy>vthodime</cp:lastModifiedBy>
  <cp:revision>181</cp:revision>
  <dcterms:created xsi:type="dcterms:W3CDTF">2015-07-09T08:35:18Z</dcterms:created>
  <dcterms:modified xsi:type="dcterms:W3CDTF">2016-05-16T12:41:22Z</dcterms:modified>
</cp:coreProperties>
</file>